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1"/>
  </p:sldMasterIdLst>
  <p:notesMasterIdLst>
    <p:notesMasterId r:id="rId5"/>
  </p:notesMasterIdLst>
  <p:handoutMasterIdLst>
    <p:handoutMasterId r:id="rId6"/>
  </p:handoutMasterIdLst>
  <p:sldIdLst>
    <p:sldId id="5230" r:id="rId2"/>
    <p:sldId id="5242" r:id="rId3"/>
    <p:sldId id="5665" r:id="rId4"/>
  </p:sldIdLst>
  <p:sldSz cx="12192000" cy="6858000"/>
  <p:notesSz cx="6950075" cy="9236075"/>
  <p:custShowLst>
    <p:custShow name="Format Guide Workshop" id="0">
      <p:sldLst/>
    </p:custShow>
  </p:custShowLst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9169DFA-1EB9-4D84-BD7B-25E6D5DFE3BC}">
          <p14:sldIdLst/>
        </p14:section>
        <p14:section name="Template" id="{87B88EA6-551D-4C1A-AC41-247D79DABAA1}">
          <p14:sldIdLst>
            <p14:sldId id="5230"/>
            <p14:sldId id="5242"/>
            <p14:sldId id="56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04C4"/>
    <a:srgbClr val="670F31"/>
    <a:srgbClr val="E71C57"/>
    <a:srgbClr val="00A859"/>
    <a:srgbClr val="FF0000"/>
    <a:srgbClr val="787878"/>
    <a:srgbClr val="004C22"/>
    <a:srgbClr val="006C31"/>
    <a:srgbClr val="5CDB95"/>
    <a:srgbClr val="5574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02" autoAdjust="0"/>
    <p:restoredTop sz="95220" autoAdjust="0"/>
  </p:normalViewPr>
  <p:slideViewPr>
    <p:cSldViewPr snapToGrid="0">
      <p:cViewPr varScale="1">
        <p:scale>
          <a:sx n="65" d="100"/>
          <a:sy n="65" d="100"/>
        </p:scale>
        <p:origin x="96" y="17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775311644876864E-2"/>
          <c:y val="5.3830227743271224E-2"/>
          <c:w val="0.89844937671024627"/>
          <c:h val="0.76190476190476197"/>
        </c:manualLayout>
      </c:layout>
      <c:scatterChart>
        <c:scatterStyle val="lineMarker"/>
        <c:varyColors val="0"/>
        <c:ser>
          <c:idx val="0"/>
          <c:order val="0"/>
          <c:spPr>
            <a:ln w="9525" algn="ctr">
              <a:solidFill>
                <a:srgbClr val="00656D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00656D"/>
              </a:solidFill>
              <a:ln w="9525" algn="ctr">
                <a:solidFill>
                  <a:srgbClr val="00656D"/>
                </a:solidFill>
                <a:prstDash val="solid"/>
              </a:ln>
            </c:spPr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19608.360856269112</c:v>
                </c:pt>
                <c:pt idx="1">
                  <c:v>15266.360856269112</c:v>
                </c:pt>
                <c:pt idx="2">
                  <c:v>14745.360856269112</c:v>
                </c:pt>
                <c:pt idx="3">
                  <c:v>11455.360856269112</c:v>
                </c:pt>
                <c:pt idx="4">
                  <c:v>6938.3608562691124</c:v>
                </c:pt>
                <c:pt idx="5">
                  <c:v>8424.3608562691115</c:v>
                </c:pt>
                <c:pt idx="6">
                  <c:v>6944.3608562691124</c:v>
                </c:pt>
                <c:pt idx="7">
                  <c:v>2455.3608562691124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BE1-41D7-BDA8-558FF72910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7117616"/>
        <c:axId val="358173368"/>
      </c:scatterChart>
      <c:valAx>
        <c:axId val="277117616"/>
        <c:scaling>
          <c:orientation val="minMax"/>
          <c:max val="2019"/>
          <c:min val="2011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l-GR"/>
          </a:p>
        </c:txPr>
        <c:crossAx val="358173368"/>
        <c:crosses val="min"/>
        <c:crossBetween val="midCat"/>
        <c:majorUnit val="1"/>
      </c:valAx>
      <c:valAx>
        <c:axId val="358173368"/>
        <c:scaling>
          <c:orientation val="minMax"/>
          <c:max val="22038.3608562691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277117616"/>
        <c:crosses val="min"/>
        <c:crossBetween val="midCat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775311644876864E-2"/>
          <c:y val="5.3830227743271224E-2"/>
          <c:w val="0.89844937671024627"/>
          <c:h val="0.76190476190476197"/>
        </c:manualLayout>
      </c:layout>
      <c:scatterChart>
        <c:scatterStyle val="lineMarker"/>
        <c:varyColors val="0"/>
        <c:ser>
          <c:idx val="0"/>
          <c:order val="0"/>
          <c:spPr>
            <a:ln w="9525" algn="ctr">
              <a:solidFill>
                <a:srgbClr val="00656D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00656D"/>
              </a:solidFill>
              <a:ln w="9525" algn="ctr">
                <a:solidFill>
                  <a:srgbClr val="00656D"/>
                </a:solidFill>
                <a:prstDash val="solid"/>
              </a:ln>
            </c:spPr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1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37.052599388379207</c:v>
                </c:pt>
                <c:pt idx="1">
                  <c:v>27.952599388379205</c:v>
                </c:pt>
                <c:pt idx="2">
                  <c:v>32.652599388379201</c:v>
                </c:pt>
                <c:pt idx="3">
                  <c:v>24.152599388379208</c:v>
                </c:pt>
                <c:pt idx="4">
                  <c:v>17.852599388379204</c:v>
                </c:pt>
                <c:pt idx="5">
                  <c:v>22.252599388379203</c:v>
                </c:pt>
                <c:pt idx="6">
                  <c:v>18.052599388379207</c:v>
                </c:pt>
                <c:pt idx="7">
                  <c:v>4.9525993883792054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D67-4927-93F3-AC6467CAC9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6974936"/>
        <c:axId val="356793040"/>
      </c:scatterChart>
      <c:valAx>
        <c:axId val="356974936"/>
        <c:scaling>
          <c:orientation val="minMax"/>
          <c:max val="2019"/>
          <c:min val="2011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rgbClr val="808080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l-GR"/>
          </a:p>
        </c:txPr>
        <c:crossAx val="356793040"/>
        <c:crosses val="min"/>
        <c:crossBetween val="midCat"/>
        <c:majorUnit val="1"/>
      </c:valAx>
      <c:valAx>
        <c:axId val="356793040"/>
        <c:scaling>
          <c:orientation val="minMax"/>
          <c:max val="44.45259938837920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356974936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083056478405316"/>
          <c:y val="2.6078234704112337E-2"/>
          <c:w val="0.55548172757475089"/>
          <c:h val="0.94784353059177529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7A7A7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FF0-492E-8A4E-1FE8E84FC004}"/>
              </c:ext>
            </c:extLst>
          </c:dPt>
          <c:dPt>
            <c:idx val="6"/>
            <c:invertIfNegative val="0"/>
            <c:bubble3D val="0"/>
            <c:spPr>
              <a:solidFill>
                <a:srgbClr val="A7A7A7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FF0-492E-8A4E-1FE8E84FC004}"/>
              </c:ext>
            </c:extLst>
          </c:dPt>
          <c:dLbls>
            <c:dLbl>
              <c:idx val="0"/>
              <c:layout>
                <c:manualLayout>
                  <c:x val="0.36677740863787378"/>
                  <c:y val="-1.50451354062186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FF0-492E-8A4E-1FE8E84FC00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7.7076411960132887E-2"/>
                  <c:y val="-1.50451354062186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FF0-492E-8A4E-1FE8E84FC00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9.999999999999986</c:v>
                </c:pt>
                <c:pt idx="1">
                  <c:v>92.699999999999989</c:v>
                </c:pt>
                <c:pt idx="2">
                  <c:v>41.199999999999989</c:v>
                </c:pt>
                <c:pt idx="3">
                  <c:v>31.399999999999991</c:v>
                </c:pt>
                <c:pt idx="4">
                  <c:v>23.999999999999993</c:v>
                </c:pt>
                <c:pt idx="5">
                  <c:v>7.7999999999999945</c:v>
                </c:pt>
                <c:pt idx="6">
                  <c:v>7.79999999999999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FF0-492E-8A4E-1FE8E84FC004}"/>
            </c:ext>
          </c:extLst>
        </c:ser>
        <c:ser>
          <c:idx val="1"/>
          <c:order val="1"/>
          <c:spPr>
            <a:solidFill>
              <a:srgbClr val="A7A7A7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B853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FF0-492E-8A4E-1FE8E84FC004}"/>
              </c:ext>
            </c:extLst>
          </c:dPt>
          <c:dLbls>
            <c:dLbl>
              <c:idx val="1"/>
              <c:layout>
                <c:manualLayout>
                  <c:x val="7.6411960132890366E-2"/>
                  <c:y val="-1.50451354062186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FF0-492E-8A4E-1FE8E84FC00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21528239202657806"/>
                  <c:y val="-1.50451354062186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FF0-492E-8A4E-1FE8E84FC00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9.9667774086378738E-2"/>
                  <c:y val="-1.50451354062186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FF0-492E-8A4E-1FE8E84FC00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7.6411960132890366E-2"/>
                  <c:y val="-1.50451354062186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AFF0-492E-8A4E-1FE8E84FC00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1760797342192691"/>
                  <c:y val="-1.504513540621865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AFF0-492E-8A4E-1FE8E84FC00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7.2999999999999972</c:v>
                </c:pt>
                <c:pt idx="2">
                  <c:v>51.5</c:v>
                </c:pt>
                <c:pt idx="3">
                  <c:v>9.7999999999999972</c:v>
                </c:pt>
                <c:pt idx="4">
                  <c:v>7.3999999999999986</c:v>
                </c:pt>
                <c:pt idx="5">
                  <c:v>16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AFF0-492E-8A4E-1FE8E84FC0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59409160"/>
        <c:axId val="359409544"/>
      </c:barChart>
      <c:catAx>
        <c:axId val="359409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359409544"/>
        <c:crosses val="min"/>
        <c:auto val="0"/>
        <c:lblAlgn val="ctr"/>
        <c:lblOffset val="100"/>
        <c:noMultiLvlLbl val="0"/>
      </c:catAx>
      <c:valAx>
        <c:axId val="359409544"/>
        <c:scaling>
          <c:orientation val="minMax"/>
          <c:max val="99.999999999999986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59409160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58803986710964"/>
          <c:y val="2.596105841238143E-2"/>
          <c:w val="0.60996677740863792"/>
          <c:h val="0.94807788317523722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7A7A7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12-4038-919C-EBFEF368AE4B}"/>
              </c:ext>
            </c:extLst>
          </c:dPt>
          <c:dPt>
            <c:idx val="6"/>
            <c:invertIfNegative val="0"/>
            <c:bubble3D val="0"/>
            <c:spPr>
              <a:solidFill>
                <a:srgbClr val="A7A7A7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012-4038-919C-EBFEF368AE4B}"/>
              </c:ext>
            </c:extLst>
          </c:dPt>
          <c:dLbls>
            <c:dLbl>
              <c:idx val="0"/>
              <c:layout>
                <c:manualLayout>
                  <c:x val="0.39401993355481729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012-4038-919C-EBFEF368AE4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11893687707641196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012-4038-919C-EBFEF368AE4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99.999999999999986</c:v>
                </c:pt>
                <c:pt idx="1">
                  <c:v>88.699999999999989</c:v>
                </c:pt>
                <c:pt idx="2">
                  <c:v>48.8</c:v>
                </c:pt>
                <c:pt idx="3">
                  <c:v>40.099999999999994</c:v>
                </c:pt>
                <c:pt idx="4">
                  <c:v>33.299999999999997</c:v>
                </c:pt>
                <c:pt idx="5">
                  <c:v>15.399999999999995</c:v>
                </c:pt>
                <c:pt idx="6">
                  <c:v>15.39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012-4038-919C-EBFEF368AE4B}"/>
            </c:ext>
          </c:extLst>
        </c:ser>
        <c:ser>
          <c:idx val="1"/>
          <c:order val="1"/>
          <c:spPr>
            <a:solidFill>
              <a:srgbClr val="A7A7A7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B853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012-4038-919C-EBFEF368AE4B}"/>
              </c:ext>
            </c:extLst>
          </c:dPt>
          <c:dLbls>
            <c:dLbl>
              <c:idx val="1"/>
              <c:layout>
                <c:manualLayout>
                  <c:x val="0.10697674418604651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C012-4038-919C-EBFEF368AE4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19401993355481728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C012-4038-919C-EBFEF368AE4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8.2392026578073096E-2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C012-4038-919C-EBFEF368AE4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7.6411960132890366E-2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C012-4038-919C-EBFEF368AE4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2691029900332226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C012-4038-919C-EBFEF368AE4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11.299999999999997</c:v>
                </c:pt>
                <c:pt idx="2">
                  <c:v>39.899999999999991</c:v>
                </c:pt>
                <c:pt idx="3">
                  <c:v>8.7000000000000028</c:v>
                </c:pt>
                <c:pt idx="4">
                  <c:v>6.7999999999999972</c:v>
                </c:pt>
                <c:pt idx="5">
                  <c:v>17.9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C012-4038-919C-EBFEF368AE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78258920"/>
        <c:axId val="278257744"/>
      </c:barChart>
      <c:catAx>
        <c:axId val="2782589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278257744"/>
        <c:crosses val="min"/>
        <c:auto val="0"/>
        <c:lblAlgn val="ctr"/>
        <c:lblOffset val="100"/>
        <c:noMultiLvlLbl val="0"/>
      </c:catAx>
      <c:valAx>
        <c:axId val="278257744"/>
        <c:scaling>
          <c:orientation val="minMax"/>
          <c:max val="99.999999999999986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78258920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358803986710964"/>
          <c:y val="2.596105841238143E-2"/>
          <c:w val="0.60996677740863792"/>
          <c:h val="0.94807788317523722"/>
        </c:manualLayout>
      </c:layout>
      <c:barChart>
        <c:barDir val="bar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7A7A7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EA9-464C-B8AA-7D1D2B2E3D7F}"/>
              </c:ext>
            </c:extLst>
          </c:dPt>
          <c:dPt>
            <c:idx val="6"/>
            <c:invertIfNegative val="0"/>
            <c:bubble3D val="0"/>
            <c:spPr>
              <a:solidFill>
                <a:srgbClr val="A7A7A7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EA9-464C-B8AA-7D1D2B2E3D7F}"/>
              </c:ext>
            </c:extLst>
          </c:dPt>
          <c:dLbls>
            <c:dLbl>
              <c:idx val="0"/>
              <c:layout>
                <c:manualLayout>
                  <c:x val="0.39401993355481729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EA9-464C-B8AA-7D1D2B2E3D7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.11029900332225914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EA9-464C-B8AA-7D1D2B2E3D7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00</c:v>
                </c:pt>
                <c:pt idx="1">
                  <c:v>93.8</c:v>
                </c:pt>
                <c:pt idx="2">
                  <c:v>57</c:v>
                </c:pt>
                <c:pt idx="3">
                  <c:v>42.5</c:v>
                </c:pt>
                <c:pt idx="4">
                  <c:v>28.6</c:v>
                </c:pt>
                <c:pt idx="5">
                  <c:v>12.3</c:v>
                </c:pt>
                <c:pt idx="6">
                  <c:v>12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EA9-464C-B8AA-7D1D2B2E3D7F}"/>
            </c:ext>
          </c:extLst>
        </c:ser>
        <c:ser>
          <c:idx val="1"/>
          <c:order val="1"/>
          <c:spPr>
            <a:solidFill>
              <a:srgbClr val="A7A7A7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B853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7EA9-464C-B8AA-7D1D2B2E3D7F}"/>
              </c:ext>
            </c:extLst>
          </c:dPt>
          <c:dLbls>
            <c:dLbl>
              <c:idx val="1"/>
              <c:layout>
                <c:manualLayout>
                  <c:x val="7.441860465116279E-2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7EA9-464C-B8AA-7D1D2B2E3D7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18471760797342193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7EA9-464C-B8AA-7D1D2B2E3D7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11627906976744186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7EA9-464C-B8AA-7D1D2B2E3D7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11495016611295682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7EA9-464C-B8AA-7D1D2B2E3D7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.12225913621262459"/>
                  <c:y val="-1.497753369945082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7EA9-464C-B8AA-7D1D2B2E3D7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6.2000000000000028</c:v>
                </c:pt>
                <c:pt idx="2">
                  <c:v>36.799999999999997</c:v>
                </c:pt>
                <c:pt idx="3">
                  <c:v>14.5</c:v>
                </c:pt>
                <c:pt idx="4">
                  <c:v>13.899999999999999</c:v>
                </c:pt>
                <c:pt idx="5">
                  <c:v>16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7EA9-464C-B8AA-7D1D2B2E3D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60757528"/>
        <c:axId val="360752040"/>
      </c:barChart>
      <c:catAx>
        <c:axId val="3607575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360752040"/>
        <c:crosses val="min"/>
        <c:auto val="0"/>
        <c:lblAlgn val="ctr"/>
        <c:lblOffset val="100"/>
        <c:noMultiLvlLbl val="0"/>
      </c:catAx>
      <c:valAx>
        <c:axId val="360752040"/>
        <c:scaling>
          <c:orientation val="minMax"/>
          <c:max val="10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6075752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1/10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11/10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5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16" name="Group 15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17" name="Straight Connector 16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4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5" name="Isosceles Triangle 24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8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9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0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1" name="Isosceles Triangle 30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34" name="Isosceles Triangle 33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B8419EFE-F936-47E6-9B99-1F802F04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6175" t="29355" r="9603" b="19558"/>
          <a:stretch/>
        </p:blipFill>
        <p:spPr>
          <a:xfrm>
            <a:off x="3568183" y="892035"/>
            <a:ext cx="3286103" cy="10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2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57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78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626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51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7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694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6912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272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27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6682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256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55646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319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9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16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972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60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190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8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2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Isosceles Triangle 19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grpSp>
        <p:nvGrpSpPr>
          <p:cNvPr id="26" name="Group 25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Isosceles Triangle 34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xmlns="" id="{7BF6C005-03F3-4B19-907E-858DF5924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175" t="29355" r="9603" b="19558"/>
          <a:stretch/>
        </p:blipFill>
        <p:spPr>
          <a:xfrm>
            <a:off x="4163484" y="2843665"/>
            <a:ext cx="3865032" cy="118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6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2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927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4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8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40" name="Group 39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42" name="Straight Connector 41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5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6" name="Isosceles Triangle 45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7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8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49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50" name="Isosceles Triangle 49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41" name="Isosceles Triangle 40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51" name="Picture 50" descr="A close up of a logo&#10;&#10;Description automatically generated">
            <a:extLst>
              <a:ext uri="{FF2B5EF4-FFF2-40B4-BE49-F238E27FC236}">
                <a16:creationId xmlns:a16="http://schemas.microsoft.com/office/drawing/2014/main" xmlns="" id="{B8419EFE-F936-47E6-9B99-1F802F04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6175" t="29355" r="9603" b="19558"/>
          <a:stretch/>
        </p:blipFill>
        <p:spPr>
          <a:xfrm>
            <a:off x="3568183" y="892035"/>
            <a:ext cx="3286103" cy="10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0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93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17835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73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780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13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421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1316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807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981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37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82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624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864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7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55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5512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6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2273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377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9381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256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6226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97363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98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87700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9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24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9801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742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455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655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35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8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9" name="Isosceles Triangle 38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0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1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2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3" name="Isosceles Triangle 42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grpSp>
        <p:nvGrpSpPr>
          <p:cNvPr id="44" name="Group 43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45" name="Straight Connector 44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8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9" name="Isosceles Triangle 48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0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1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2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3" name="Isosceles Triangle 52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54" name="Picture 53" descr="A close up of a logo&#10;&#10;Description automatically generated">
            <a:extLst>
              <a:ext uri="{FF2B5EF4-FFF2-40B4-BE49-F238E27FC236}">
                <a16:creationId xmlns:a16="http://schemas.microsoft.com/office/drawing/2014/main" xmlns="" id="{7BF6C005-03F3-4B19-907E-858DF5924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175" t="29355" r="9603" b="19558"/>
          <a:stretch/>
        </p:blipFill>
        <p:spPr>
          <a:xfrm>
            <a:off x="4163484" y="2843665"/>
            <a:ext cx="3865032" cy="118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80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339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20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0263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30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308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21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488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602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214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94926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478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8518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220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876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067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10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9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1375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737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237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102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7840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83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1130466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33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262207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tags" Target="../tags/tag49.xml"/><Relationship Id="rId39" Type="http://schemas.openxmlformats.org/officeDocument/2006/relationships/tags" Target="../tags/tag62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34" Type="http://schemas.openxmlformats.org/officeDocument/2006/relationships/tags" Target="../tags/tag57.xml"/><Relationship Id="rId42" Type="http://schemas.openxmlformats.org/officeDocument/2006/relationships/tags" Target="../tags/tag65.xml"/><Relationship Id="rId47" Type="http://schemas.openxmlformats.org/officeDocument/2006/relationships/tags" Target="../tags/tag70.xml"/><Relationship Id="rId50" Type="http://schemas.openxmlformats.org/officeDocument/2006/relationships/slideLayout" Target="../slideLayouts/slideLayout2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tags" Target="../tags/tag56.xml"/><Relationship Id="rId38" Type="http://schemas.openxmlformats.org/officeDocument/2006/relationships/tags" Target="../tags/tag61.xml"/><Relationship Id="rId46" Type="http://schemas.openxmlformats.org/officeDocument/2006/relationships/tags" Target="../tags/tag69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29" Type="http://schemas.openxmlformats.org/officeDocument/2006/relationships/tags" Target="../tags/tag52.xml"/><Relationship Id="rId41" Type="http://schemas.openxmlformats.org/officeDocument/2006/relationships/tags" Target="../tags/tag64.xml"/><Relationship Id="rId54" Type="http://schemas.openxmlformats.org/officeDocument/2006/relationships/chart" Target="../charts/chart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tags" Target="../tags/tag55.xml"/><Relationship Id="rId37" Type="http://schemas.openxmlformats.org/officeDocument/2006/relationships/tags" Target="../tags/tag60.xml"/><Relationship Id="rId40" Type="http://schemas.openxmlformats.org/officeDocument/2006/relationships/tags" Target="../tags/tag63.xml"/><Relationship Id="rId45" Type="http://schemas.openxmlformats.org/officeDocument/2006/relationships/tags" Target="../tags/tag68.xml"/><Relationship Id="rId53" Type="http://schemas.openxmlformats.org/officeDocument/2006/relationships/chart" Target="../charts/chart1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36" Type="http://schemas.openxmlformats.org/officeDocument/2006/relationships/tags" Target="../tags/tag59.xml"/><Relationship Id="rId49" Type="http://schemas.openxmlformats.org/officeDocument/2006/relationships/tags" Target="../tags/tag72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31" Type="http://schemas.openxmlformats.org/officeDocument/2006/relationships/tags" Target="../tags/tag54.xml"/><Relationship Id="rId44" Type="http://schemas.openxmlformats.org/officeDocument/2006/relationships/tags" Target="../tags/tag67.xml"/><Relationship Id="rId52" Type="http://schemas.openxmlformats.org/officeDocument/2006/relationships/image" Target="../media/image9.emf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tags" Target="../tags/tag58.xml"/><Relationship Id="rId43" Type="http://schemas.openxmlformats.org/officeDocument/2006/relationships/tags" Target="../tags/tag66.xml"/><Relationship Id="rId48" Type="http://schemas.openxmlformats.org/officeDocument/2006/relationships/tags" Target="../tags/tag71.xml"/><Relationship Id="rId8" Type="http://schemas.openxmlformats.org/officeDocument/2006/relationships/tags" Target="../tags/tag31.xml"/><Relationship Id="rId51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34" Type="http://schemas.openxmlformats.org/officeDocument/2006/relationships/image" Target="../media/image9.emf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33" Type="http://schemas.openxmlformats.org/officeDocument/2006/relationships/oleObject" Target="../embeddings/oleObject20.bin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tags" Target="../tags/tag10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tags" Target="../tags/tag95.xml"/><Relationship Id="rId32" Type="http://schemas.openxmlformats.org/officeDocument/2006/relationships/slideLayout" Target="../slideLayouts/slideLayout47.xml"/><Relationship Id="rId37" Type="http://schemas.openxmlformats.org/officeDocument/2006/relationships/chart" Target="../charts/chart5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tags" Target="../tags/tag99.xml"/><Relationship Id="rId36" Type="http://schemas.openxmlformats.org/officeDocument/2006/relationships/chart" Target="../charts/chart4.xml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31" Type="http://schemas.openxmlformats.org/officeDocument/2006/relationships/tags" Target="../tags/tag102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tags" Target="../tags/tag101.xml"/><Relationship Id="rId35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785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04" name="think-cell Slide" r:id="rId51" imgW="473" imgH="473" progId="TCLayout.ActiveDocument.1">
                  <p:embed/>
                </p:oleObj>
              </mc:Choice>
              <mc:Fallback>
                <p:oleObj name="think-cell Slide" r:id="rId51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100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/>
          <a:lstStyle/>
          <a:p>
            <a:r>
              <a:rPr lang="el-GR" b="1" dirty="0" smtClean="0"/>
              <a:t>Η </a:t>
            </a:r>
            <a:r>
              <a:rPr lang="el-GR" b="1" dirty="0" err="1" smtClean="0"/>
              <a:t>απολιγνιτοποίηση</a:t>
            </a:r>
            <a:r>
              <a:rPr lang="el-GR" b="1" dirty="0" smtClean="0"/>
              <a:t> του ενεργειακού μίγματος της χώρας ξεκίνησε το 2010-2011</a:t>
            </a:r>
            <a:endParaRPr lang="en-US" b="1" dirty="0"/>
          </a:p>
        </p:txBody>
      </p:sp>
      <p:sp>
        <p:nvSpPr>
          <p:cNvPr id="5" name="NavigationIcon"/>
          <p:cNvSpPr>
            <a:spLocks noChangeAspect="1"/>
          </p:cNvSpPr>
          <p:nvPr/>
        </p:nvSpPr>
        <p:spPr bwMode="auto">
          <a:xfrm>
            <a:off x="11705579" y="132877"/>
            <a:ext cx="335690" cy="365760"/>
          </a:xfrm>
          <a:custGeom>
            <a:avLst/>
            <a:gdLst>
              <a:gd name="connsiteX0" fmla="*/ 1077708 w 1197643"/>
              <a:gd name="connsiteY0" fmla="*/ 315913 h 1304925"/>
              <a:gd name="connsiteX1" fmla="*/ 1066261 w 1197643"/>
              <a:gd name="connsiteY1" fmla="*/ 318056 h 1304925"/>
              <a:gd name="connsiteX2" fmla="*/ 1044083 w 1197643"/>
              <a:gd name="connsiteY2" fmla="*/ 337344 h 1304925"/>
              <a:gd name="connsiteX3" fmla="*/ 1041936 w 1197643"/>
              <a:gd name="connsiteY3" fmla="*/ 366634 h 1304925"/>
              <a:gd name="connsiteX4" fmla="*/ 1065545 w 1197643"/>
              <a:gd name="connsiteY4" fmla="*/ 434499 h 1304925"/>
              <a:gd name="connsiteX5" fmla="*/ 1074130 w 1197643"/>
              <a:gd name="connsiteY5" fmla="*/ 617379 h 1304925"/>
              <a:gd name="connsiteX6" fmla="*/ 1071984 w 1197643"/>
              <a:gd name="connsiteY6" fmla="*/ 623809 h 1304925"/>
              <a:gd name="connsiteX7" fmla="*/ 966816 w 1197643"/>
              <a:gd name="connsiteY7" fmla="*/ 788829 h 1304925"/>
              <a:gd name="connsiteX8" fmla="*/ 946069 w 1197643"/>
              <a:gd name="connsiteY8" fmla="*/ 805260 h 1304925"/>
              <a:gd name="connsiteX9" fmla="*/ 920314 w 1197643"/>
              <a:gd name="connsiteY9" fmla="*/ 814547 h 1304925"/>
              <a:gd name="connsiteX10" fmla="*/ 885258 w 1197643"/>
              <a:gd name="connsiteY10" fmla="*/ 795973 h 1304925"/>
              <a:gd name="connsiteX11" fmla="*/ 882396 w 1197643"/>
              <a:gd name="connsiteY11" fmla="*/ 756682 h 1304925"/>
              <a:gd name="connsiteX12" fmla="*/ 931045 w 1197643"/>
              <a:gd name="connsiteY12" fmla="*/ 646669 h 1304925"/>
              <a:gd name="connsiteX13" fmla="*/ 917452 w 1197643"/>
              <a:gd name="connsiteY13" fmla="*/ 605235 h 1304925"/>
              <a:gd name="connsiteX14" fmla="*/ 901713 w 1197643"/>
              <a:gd name="connsiteY14" fmla="*/ 600949 h 1304925"/>
              <a:gd name="connsiteX15" fmla="*/ 873811 w 1197643"/>
              <a:gd name="connsiteY15" fmla="*/ 616665 h 1304925"/>
              <a:gd name="connsiteX16" fmla="*/ 710693 w 1197643"/>
              <a:gd name="connsiteY16" fmla="*/ 875268 h 1304925"/>
              <a:gd name="connsiteX17" fmla="*/ 688515 w 1197643"/>
              <a:gd name="connsiteY17" fmla="*/ 950278 h 1304925"/>
              <a:gd name="connsiteX18" fmla="*/ 689946 w 1197643"/>
              <a:gd name="connsiteY18" fmla="*/ 1273175 h 1304925"/>
              <a:gd name="connsiteX19" fmla="*/ 956800 w 1197643"/>
              <a:gd name="connsiteY19" fmla="*/ 1273175 h 1304925"/>
              <a:gd name="connsiteX20" fmla="*/ 956800 w 1197643"/>
              <a:gd name="connsiteY20" fmla="*/ 1096010 h 1304925"/>
              <a:gd name="connsiteX21" fmla="*/ 956800 w 1197643"/>
              <a:gd name="connsiteY21" fmla="*/ 1091724 h 1304925"/>
              <a:gd name="connsiteX22" fmla="*/ 993287 w 1197643"/>
              <a:gd name="connsiteY22" fmla="*/ 995998 h 1304925"/>
              <a:gd name="connsiteX23" fmla="*/ 1059822 w 1197643"/>
              <a:gd name="connsiteY23" fmla="*/ 896700 h 1304925"/>
              <a:gd name="connsiteX24" fmla="*/ 1153543 w 1197643"/>
              <a:gd name="connsiteY24" fmla="*/ 672386 h 1304925"/>
              <a:gd name="connsiteX25" fmla="*/ 1156405 w 1197643"/>
              <a:gd name="connsiteY25" fmla="*/ 659527 h 1304925"/>
              <a:gd name="connsiteX26" fmla="*/ 1138519 w 1197643"/>
              <a:gd name="connsiteY26" fmla="*/ 408067 h 1304925"/>
              <a:gd name="connsiteX27" fmla="*/ 1113479 w 1197643"/>
              <a:gd name="connsiteY27" fmla="*/ 340916 h 1304925"/>
              <a:gd name="connsiteX28" fmla="*/ 1077708 w 1197643"/>
              <a:gd name="connsiteY28" fmla="*/ 315913 h 1304925"/>
              <a:gd name="connsiteX29" fmla="*/ 118348 w 1197643"/>
              <a:gd name="connsiteY29" fmla="*/ 315913 h 1304925"/>
              <a:gd name="connsiteX30" fmla="*/ 82577 w 1197643"/>
              <a:gd name="connsiteY30" fmla="*/ 340916 h 1304925"/>
              <a:gd name="connsiteX31" fmla="*/ 57537 w 1197643"/>
              <a:gd name="connsiteY31" fmla="*/ 408067 h 1304925"/>
              <a:gd name="connsiteX32" fmla="*/ 39651 w 1197643"/>
              <a:gd name="connsiteY32" fmla="*/ 659527 h 1304925"/>
              <a:gd name="connsiteX33" fmla="*/ 42513 w 1197643"/>
              <a:gd name="connsiteY33" fmla="*/ 672386 h 1304925"/>
              <a:gd name="connsiteX34" fmla="*/ 136234 w 1197643"/>
              <a:gd name="connsiteY34" fmla="*/ 896700 h 1304925"/>
              <a:gd name="connsiteX35" fmla="*/ 202768 w 1197643"/>
              <a:gd name="connsiteY35" fmla="*/ 995998 h 1304925"/>
              <a:gd name="connsiteX36" fmla="*/ 239255 w 1197643"/>
              <a:gd name="connsiteY36" fmla="*/ 1091724 h 1304925"/>
              <a:gd name="connsiteX37" fmla="*/ 239255 w 1197643"/>
              <a:gd name="connsiteY37" fmla="*/ 1096010 h 1304925"/>
              <a:gd name="connsiteX38" fmla="*/ 239255 w 1197643"/>
              <a:gd name="connsiteY38" fmla="*/ 1273175 h 1304925"/>
              <a:gd name="connsiteX39" fmla="*/ 506109 w 1197643"/>
              <a:gd name="connsiteY39" fmla="*/ 1273175 h 1304925"/>
              <a:gd name="connsiteX40" fmla="*/ 507540 w 1197643"/>
              <a:gd name="connsiteY40" fmla="*/ 950278 h 1304925"/>
              <a:gd name="connsiteX41" fmla="*/ 485362 w 1197643"/>
              <a:gd name="connsiteY41" fmla="*/ 875268 h 1304925"/>
              <a:gd name="connsiteX42" fmla="*/ 322245 w 1197643"/>
              <a:gd name="connsiteY42" fmla="*/ 616665 h 1304925"/>
              <a:gd name="connsiteX43" fmla="*/ 294343 w 1197643"/>
              <a:gd name="connsiteY43" fmla="*/ 600949 h 1304925"/>
              <a:gd name="connsiteX44" fmla="*/ 278604 w 1197643"/>
              <a:gd name="connsiteY44" fmla="*/ 605235 h 1304925"/>
              <a:gd name="connsiteX45" fmla="*/ 265010 w 1197643"/>
              <a:gd name="connsiteY45" fmla="*/ 646669 h 1304925"/>
              <a:gd name="connsiteX46" fmla="*/ 313659 w 1197643"/>
              <a:gd name="connsiteY46" fmla="*/ 756682 h 1304925"/>
              <a:gd name="connsiteX47" fmla="*/ 310798 w 1197643"/>
              <a:gd name="connsiteY47" fmla="*/ 795973 h 1304925"/>
              <a:gd name="connsiteX48" fmla="*/ 275742 w 1197643"/>
              <a:gd name="connsiteY48" fmla="*/ 814547 h 1304925"/>
              <a:gd name="connsiteX49" fmla="*/ 249986 w 1197643"/>
              <a:gd name="connsiteY49" fmla="*/ 805260 h 1304925"/>
              <a:gd name="connsiteX50" fmla="*/ 229239 w 1197643"/>
              <a:gd name="connsiteY50" fmla="*/ 788829 h 1304925"/>
              <a:gd name="connsiteX51" fmla="*/ 124071 w 1197643"/>
              <a:gd name="connsiteY51" fmla="*/ 623809 h 1304925"/>
              <a:gd name="connsiteX52" fmla="*/ 121925 w 1197643"/>
              <a:gd name="connsiteY52" fmla="*/ 617379 h 1304925"/>
              <a:gd name="connsiteX53" fmla="*/ 130510 w 1197643"/>
              <a:gd name="connsiteY53" fmla="*/ 434499 h 1304925"/>
              <a:gd name="connsiteX54" fmla="*/ 154119 w 1197643"/>
              <a:gd name="connsiteY54" fmla="*/ 366634 h 1304925"/>
              <a:gd name="connsiteX55" fmla="*/ 151973 w 1197643"/>
              <a:gd name="connsiteY55" fmla="*/ 337344 h 1304925"/>
              <a:gd name="connsiteX56" fmla="*/ 129795 w 1197643"/>
              <a:gd name="connsiteY56" fmla="*/ 318056 h 1304925"/>
              <a:gd name="connsiteX57" fmla="*/ 118348 w 1197643"/>
              <a:gd name="connsiteY57" fmla="*/ 315913 h 1304925"/>
              <a:gd name="connsiteX58" fmla="*/ 1078223 w 1197643"/>
              <a:gd name="connsiteY58" fmla="*/ 284163 h 1304925"/>
              <a:gd name="connsiteX59" fmla="*/ 1143202 w 1197643"/>
              <a:gd name="connsiteY59" fmla="*/ 329912 h 1304925"/>
              <a:gd name="connsiteX60" fmla="*/ 1168195 w 1197643"/>
              <a:gd name="connsiteY60" fmla="*/ 396390 h 1304925"/>
              <a:gd name="connsiteX61" fmla="*/ 1186760 w 1197643"/>
              <a:gd name="connsiteY61" fmla="*/ 665877 h 1304925"/>
              <a:gd name="connsiteX62" fmla="*/ 1183904 w 1197643"/>
              <a:gd name="connsiteY62" fmla="*/ 679458 h 1304925"/>
              <a:gd name="connsiteX63" fmla="*/ 1086077 w 1197643"/>
              <a:gd name="connsiteY63" fmla="*/ 913919 h 1304925"/>
              <a:gd name="connsiteX64" fmla="*/ 1020383 w 1197643"/>
              <a:gd name="connsiteY64" fmla="*/ 1013279 h 1304925"/>
              <a:gd name="connsiteX65" fmla="*/ 988964 w 1197643"/>
              <a:gd name="connsiteY65" fmla="*/ 1096198 h 1304925"/>
              <a:gd name="connsiteX66" fmla="*/ 989678 w 1197643"/>
              <a:gd name="connsiteY66" fmla="*/ 1289199 h 1304925"/>
              <a:gd name="connsiteX67" fmla="*/ 973969 w 1197643"/>
              <a:gd name="connsiteY67" fmla="*/ 1304925 h 1304925"/>
              <a:gd name="connsiteX68" fmla="*/ 667635 w 1197643"/>
              <a:gd name="connsiteY68" fmla="*/ 1304925 h 1304925"/>
              <a:gd name="connsiteX69" fmla="*/ 659780 w 1197643"/>
              <a:gd name="connsiteY69" fmla="*/ 1291344 h 1304925"/>
              <a:gd name="connsiteX70" fmla="*/ 658352 w 1197643"/>
              <a:gd name="connsiteY70" fmla="*/ 950375 h 1304925"/>
              <a:gd name="connsiteX71" fmla="*/ 684773 w 1197643"/>
              <a:gd name="connsiteY71" fmla="*/ 858163 h 1304925"/>
              <a:gd name="connsiteX72" fmla="*/ 849008 w 1197643"/>
              <a:gd name="connsiteY72" fmla="*/ 599398 h 1304925"/>
              <a:gd name="connsiteX73" fmla="*/ 902563 w 1197643"/>
              <a:gd name="connsiteY73" fmla="*/ 569376 h 1304925"/>
              <a:gd name="connsiteX74" fmla="*/ 933267 w 1197643"/>
              <a:gd name="connsiteY74" fmla="*/ 577954 h 1304925"/>
              <a:gd name="connsiteX75" fmla="*/ 960402 w 1197643"/>
              <a:gd name="connsiteY75" fmla="*/ 659443 h 1304925"/>
              <a:gd name="connsiteX76" fmla="*/ 911845 w 1197643"/>
              <a:gd name="connsiteY76" fmla="*/ 769525 h 1304925"/>
              <a:gd name="connsiteX77" fmla="*/ 921128 w 1197643"/>
              <a:gd name="connsiteY77" fmla="*/ 783107 h 1304925"/>
              <a:gd name="connsiteX78" fmla="*/ 926841 w 1197643"/>
              <a:gd name="connsiteY78" fmla="*/ 780963 h 1304925"/>
              <a:gd name="connsiteX79" fmla="*/ 948263 w 1197643"/>
              <a:gd name="connsiteY79" fmla="*/ 763807 h 1304925"/>
              <a:gd name="connsiteX80" fmla="*/ 1042519 w 1197643"/>
              <a:gd name="connsiteY80" fmla="*/ 616554 h 1304925"/>
              <a:gd name="connsiteX81" fmla="*/ 1043947 w 1197643"/>
              <a:gd name="connsiteY81" fmla="*/ 609406 h 1304925"/>
              <a:gd name="connsiteX82" fmla="*/ 1036093 w 1197643"/>
              <a:gd name="connsiteY82" fmla="*/ 444997 h 1304925"/>
              <a:gd name="connsiteX83" fmla="*/ 1013243 w 1197643"/>
              <a:gd name="connsiteY83" fmla="*/ 376375 h 1304925"/>
              <a:gd name="connsiteX84" fmla="*/ 1056801 w 1197643"/>
              <a:gd name="connsiteY84" fmla="*/ 287737 h 1304925"/>
              <a:gd name="connsiteX85" fmla="*/ 1078223 w 1197643"/>
              <a:gd name="connsiteY85" fmla="*/ 284163 h 1304925"/>
              <a:gd name="connsiteX86" fmla="*/ 119420 w 1197643"/>
              <a:gd name="connsiteY86" fmla="*/ 284163 h 1304925"/>
              <a:gd name="connsiteX87" fmla="*/ 140842 w 1197643"/>
              <a:gd name="connsiteY87" fmla="*/ 287737 h 1304925"/>
              <a:gd name="connsiteX88" fmla="*/ 184400 w 1197643"/>
              <a:gd name="connsiteY88" fmla="*/ 376375 h 1304925"/>
              <a:gd name="connsiteX89" fmla="*/ 161550 w 1197643"/>
              <a:gd name="connsiteY89" fmla="*/ 444997 h 1304925"/>
              <a:gd name="connsiteX90" fmla="*/ 153695 w 1197643"/>
              <a:gd name="connsiteY90" fmla="*/ 609406 h 1304925"/>
              <a:gd name="connsiteX91" fmla="*/ 155123 w 1197643"/>
              <a:gd name="connsiteY91" fmla="*/ 616554 h 1304925"/>
              <a:gd name="connsiteX92" fmla="*/ 249380 w 1197643"/>
              <a:gd name="connsiteY92" fmla="*/ 763807 h 1304925"/>
              <a:gd name="connsiteX93" fmla="*/ 270802 w 1197643"/>
              <a:gd name="connsiteY93" fmla="*/ 780963 h 1304925"/>
              <a:gd name="connsiteX94" fmla="*/ 276514 w 1197643"/>
              <a:gd name="connsiteY94" fmla="*/ 783107 h 1304925"/>
              <a:gd name="connsiteX95" fmla="*/ 285797 w 1197643"/>
              <a:gd name="connsiteY95" fmla="*/ 769525 h 1304925"/>
              <a:gd name="connsiteX96" fmla="*/ 237241 w 1197643"/>
              <a:gd name="connsiteY96" fmla="*/ 659443 h 1304925"/>
              <a:gd name="connsiteX97" fmla="*/ 264375 w 1197643"/>
              <a:gd name="connsiteY97" fmla="*/ 577954 h 1304925"/>
              <a:gd name="connsiteX98" fmla="*/ 295080 w 1197643"/>
              <a:gd name="connsiteY98" fmla="*/ 569376 h 1304925"/>
              <a:gd name="connsiteX99" fmla="*/ 348635 w 1197643"/>
              <a:gd name="connsiteY99" fmla="*/ 599398 h 1304925"/>
              <a:gd name="connsiteX100" fmla="*/ 512870 w 1197643"/>
              <a:gd name="connsiteY100" fmla="*/ 858163 h 1304925"/>
              <a:gd name="connsiteX101" fmla="*/ 539290 w 1197643"/>
              <a:gd name="connsiteY101" fmla="*/ 950375 h 1304925"/>
              <a:gd name="connsiteX102" fmla="*/ 537862 w 1197643"/>
              <a:gd name="connsiteY102" fmla="*/ 1291344 h 1304925"/>
              <a:gd name="connsiteX103" fmla="*/ 530007 w 1197643"/>
              <a:gd name="connsiteY103" fmla="*/ 1304925 h 1304925"/>
              <a:gd name="connsiteX104" fmla="*/ 224387 w 1197643"/>
              <a:gd name="connsiteY104" fmla="*/ 1304925 h 1304925"/>
              <a:gd name="connsiteX105" fmla="*/ 223673 w 1197643"/>
              <a:gd name="connsiteY105" fmla="*/ 1304925 h 1304925"/>
              <a:gd name="connsiteX106" fmla="*/ 207964 w 1197643"/>
              <a:gd name="connsiteY106" fmla="*/ 1289199 h 1304925"/>
              <a:gd name="connsiteX107" fmla="*/ 208678 w 1197643"/>
              <a:gd name="connsiteY107" fmla="*/ 1096198 h 1304925"/>
              <a:gd name="connsiteX108" fmla="*/ 177259 w 1197643"/>
              <a:gd name="connsiteY108" fmla="*/ 1013279 h 1304925"/>
              <a:gd name="connsiteX109" fmla="*/ 111565 w 1197643"/>
              <a:gd name="connsiteY109" fmla="*/ 913919 h 1304925"/>
              <a:gd name="connsiteX110" fmla="*/ 13738 w 1197643"/>
              <a:gd name="connsiteY110" fmla="*/ 679458 h 1304925"/>
              <a:gd name="connsiteX111" fmla="*/ 10882 w 1197643"/>
              <a:gd name="connsiteY111" fmla="*/ 665877 h 1304925"/>
              <a:gd name="connsiteX112" fmla="*/ 29448 w 1197643"/>
              <a:gd name="connsiteY112" fmla="*/ 396390 h 1304925"/>
              <a:gd name="connsiteX113" fmla="*/ 54440 w 1197643"/>
              <a:gd name="connsiteY113" fmla="*/ 329912 h 1304925"/>
              <a:gd name="connsiteX114" fmla="*/ 119420 w 1197643"/>
              <a:gd name="connsiteY114" fmla="*/ 284163 h 1304925"/>
              <a:gd name="connsiteX115" fmla="*/ 586062 w 1197643"/>
              <a:gd name="connsiteY115" fmla="*/ 84138 h 1304925"/>
              <a:gd name="connsiteX116" fmla="*/ 611739 w 1197643"/>
              <a:gd name="connsiteY116" fmla="*/ 84138 h 1304925"/>
              <a:gd name="connsiteX117" fmla="*/ 611739 w 1197643"/>
              <a:gd name="connsiteY117" fmla="*/ 102626 h 1304925"/>
              <a:gd name="connsiteX118" fmla="*/ 641694 w 1197643"/>
              <a:gd name="connsiteY118" fmla="*/ 112581 h 1304925"/>
              <a:gd name="connsiteX119" fmla="*/ 633849 w 1197643"/>
              <a:gd name="connsiteY119" fmla="*/ 136046 h 1304925"/>
              <a:gd name="connsiteX120" fmla="*/ 600327 w 1197643"/>
              <a:gd name="connsiteY120" fmla="*/ 125380 h 1304925"/>
              <a:gd name="connsiteX121" fmla="*/ 585349 w 1197643"/>
              <a:gd name="connsiteY121" fmla="*/ 130357 h 1304925"/>
              <a:gd name="connsiteX122" fmla="*/ 579643 w 1197643"/>
              <a:gd name="connsiteY122" fmla="*/ 144579 h 1304925"/>
              <a:gd name="connsiteX123" fmla="*/ 611025 w 1197643"/>
              <a:gd name="connsiteY123" fmla="*/ 172310 h 1304925"/>
              <a:gd name="connsiteX124" fmla="*/ 635275 w 1197643"/>
              <a:gd name="connsiteY124" fmla="*/ 187954 h 1304925"/>
              <a:gd name="connsiteX125" fmla="*/ 645260 w 1197643"/>
              <a:gd name="connsiteY125" fmla="*/ 202886 h 1304925"/>
              <a:gd name="connsiteX126" fmla="*/ 648826 w 1197643"/>
              <a:gd name="connsiteY126" fmla="*/ 222085 h 1304925"/>
              <a:gd name="connsiteX127" fmla="*/ 638841 w 1197643"/>
              <a:gd name="connsiteY127" fmla="*/ 249105 h 1304925"/>
              <a:gd name="connsiteX128" fmla="*/ 611739 w 1197643"/>
              <a:gd name="connsiteY128" fmla="*/ 264749 h 1304925"/>
              <a:gd name="connsiteX129" fmla="*/ 611739 w 1197643"/>
              <a:gd name="connsiteY129" fmla="*/ 288925 h 1304925"/>
              <a:gd name="connsiteX130" fmla="*/ 586062 w 1197643"/>
              <a:gd name="connsiteY130" fmla="*/ 288925 h 1304925"/>
              <a:gd name="connsiteX131" fmla="*/ 586062 w 1197643"/>
              <a:gd name="connsiteY131" fmla="*/ 266171 h 1304925"/>
              <a:gd name="connsiteX132" fmla="*/ 550401 w 1197643"/>
              <a:gd name="connsiteY132" fmla="*/ 254794 h 1304925"/>
              <a:gd name="connsiteX133" fmla="*/ 561813 w 1197643"/>
              <a:gd name="connsiteY133" fmla="*/ 229907 h 1304925"/>
              <a:gd name="connsiteX134" fmla="*/ 594621 w 1197643"/>
              <a:gd name="connsiteY134" fmla="*/ 241284 h 1304925"/>
              <a:gd name="connsiteX135" fmla="*/ 620297 w 1197643"/>
              <a:gd name="connsiteY135" fmla="*/ 224218 h 1304925"/>
              <a:gd name="connsiteX136" fmla="*/ 613878 w 1197643"/>
              <a:gd name="connsiteY136" fmla="*/ 208575 h 1304925"/>
              <a:gd name="connsiteX137" fmla="*/ 588915 w 1197643"/>
              <a:gd name="connsiteY137" fmla="*/ 191509 h 1304925"/>
              <a:gd name="connsiteX138" fmla="*/ 564666 w 1197643"/>
              <a:gd name="connsiteY138" fmla="*/ 177288 h 1304925"/>
              <a:gd name="connsiteX139" fmla="*/ 553967 w 1197643"/>
              <a:gd name="connsiteY139" fmla="*/ 162355 h 1304925"/>
              <a:gd name="connsiteX140" fmla="*/ 551114 w 1197643"/>
              <a:gd name="connsiteY140" fmla="*/ 144579 h 1304925"/>
              <a:gd name="connsiteX141" fmla="*/ 561100 w 1197643"/>
              <a:gd name="connsiteY141" fmla="*/ 118980 h 1304925"/>
              <a:gd name="connsiteX142" fmla="*/ 586062 w 1197643"/>
              <a:gd name="connsiteY142" fmla="*/ 104048 h 1304925"/>
              <a:gd name="connsiteX143" fmla="*/ 586062 w 1197643"/>
              <a:gd name="connsiteY143" fmla="*/ 84138 h 1304925"/>
              <a:gd name="connsiteX144" fmla="*/ 650414 w 1197643"/>
              <a:gd name="connsiteY144" fmla="*/ 63500 h 1304925"/>
              <a:gd name="connsiteX145" fmla="*/ 877654 w 1197643"/>
              <a:gd name="connsiteY145" fmla="*/ 63500 h 1304925"/>
              <a:gd name="connsiteX146" fmla="*/ 877654 w 1197643"/>
              <a:gd name="connsiteY146" fmla="*/ 64218 h 1304925"/>
              <a:gd name="connsiteX147" fmla="*/ 876225 w 1197643"/>
              <a:gd name="connsiteY147" fmla="*/ 73543 h 1304925"/>
              <a:gd name="connsiteX148" fmla="*/ 904808 w 1197643"/>
              <a:gd name="connsiteY148" fmla="*/ 102956 h 1304925"/>
              <a:gd name="connsiteX149" fmla="*/ 914098 w 1197643"/>
              <a:gd name="connsiteY149" fmla="*/ 100804 h 1304925"/>
              <a:gd name="connsiteX150" fmla="*/ 915527 w 1197643"/>
              <a:gd name="connsiteY150" fmla="*/ 101521 h 1304925"/>
              <a:gd name="connsiteX151" fmla="*/ 915527 w 1197643"/>
              <a:gd name="connsiteY151" fmla="*/ 272976 h 1304925"/>
              <a:gd name="connsiteX152" fmla="*/ 914098 w 1197643"/>
              <a:gd name="connsiteY152" fmla="*/ 274410 h 1304925"/>
              <a:gd name="connsiteX153" fmla="*/ 904808 w 1197643"/>
              <a:gd name="connsiteY153" fmla="*/ 272258 h 1304925"/>
              <a:gd name="connsiteX154" fmla="*/ 876225 w 1197643"/>
              <a:gd name="connsiteY154" fmla="*/ 300954 h 1304925"/>
              <a:gd name="connsiteX155" fmla="*/ 876939 w 1197643"/>
              <a:gd name="connsiteY155" fmla="*/ 308845 h 1304925"/>
              <a:gd name="connsiteX156" fmla="*/ 876939 w 1197643"/>
              <a:gd name="connsiteY156" fmla="*/ 309562 h 1304925"/>
              <a:gd name="connsiteX157" fmla="*/ 650414 w 1197643"/>
              <a:gd name="connsiteY157" fmla="*/ 309562 h 1304925"/>
              <a:gd name="connsiteX158" fmla="*/ 651129 w 1197643"/>
              <a:gd name="connsiteY158" fmla="*/ 308127 h 1304925"/>
              <a:gd name="connsiteX159" fmla="*/ 708296 w 1197643"/>
              <a:gd name="connsiteY159" fmla="*/ 186890 h 1304925"/>
              <a:gd name="connsiteX160" fmla="*/ 651129 w 1197643"/>
              <a:gd name="connsiteY160" fmla="*/ 64935 h 1304925"/>
              <a:gd name="connsiteX161" fmla="*/ 650414 w 1197643"/>
              <a:gd name="connsiteY161" fmla="*/ 63500 h 1304925"/>
              <a:gd name="connsiteX162" fmla="*/ 320725 w 1197643"/>
              <a:gd name="connsiteY162" fmla="*/ 63500 h 1304925"/>
              <a:gd name="connsiteX163" fmla="*/ 548099 w 1197643"/>
              <a:gd name="connsiteY163" fmla="*/ 63500 h 1304925"/>
              <a:gd name="connsiteX164" fmla="*/ 547384 w 1197643"/>
              <a:gd name="connsiteY164" fmla="*/ 64935 h 1304925"/>
              <a:gd name="connsiteX165" fmla="*/ 490183 w 1197643"/>
              <a:gd name="connsiteY165" fmla="*/ 186890 h 1304925"/>
              <a:gd name="connsiteX166" fmla="*/ 547384 w 1197643"/>
              <a:gd name="connsiteY166" fmla="*/ 308127 h 1304925"/>
              <a:gd name="connsiteX167" fmla="*/ 548099 w 1197643"/>
              <a:gd name="connsiteY167" fmla="*/ 309562 h 1304925"/>
              <a:gd name="connsiteX168" fmla="*/ 320725 w 1197643"/>
              <a:gd name="connsiteY168" fmla="*/ 309562 h 1304925"/>
              <a:gd name="connsiteX169" fmla="*/ 320725 w 1197643"/>
              <a:gd name="connsiteY169" fmla="*/ 308845 h 1304925"/>
              <a:gd name="connsiteX170" fmla="*/ 322155 w 1197643"/>
              <a:gd name="connsiteY170" fmla="*/ 300954 h 1304925"/>
              <a:gd name="connsiteX171" fmla="*/ 292839 w 1197643"/>
              <a:gd name="connsiteY171" fmla="*/ 272258 h 1304925"/>
              <a:gd name="connsiteX172" fmla="*/ 284259 w 1197643"/>
              <a:gd name="connsiteY172" fmla="*/ 273693 h 1304925"/>
              <a:gd name="connsiteX173" fmla="*/ 282114 w 1197643"/>
              <a:gd name="connsiteY173" fmla="*/ 272976 h 1304925"/>
              <a:gd name="connsiteX174" fmla="*/ 282114 w 1197643"/>
              <a:gd name="connsiteY174" fmla="*/ 102239 h 1304925"/>
              <a:gd name="connsiteX175" fmla="*/ 284259 w 1197643"/>
              <a:gd name="connsiteY175" fmla="*/ 100804 h 1304925"/>
              <a:gd name="connsiteX176" fmla="*/ 292839 w 1197643"/>
              <a:gd name="connsiteY176" fmla="*/ 102956 h 1304925"/>
              <a:gd name="connsiteX177" fmla="*/ 322155 w 1197643"/>
              <a:gd name="connsiteY177" fmla="*/ 73543 h 1304925"/>
              <a:gd name="connsiteX178" fmla="*/ 320725 w 1197643"/>
              <a:gd name="connsiteY178" fmla="*/ 64218 h 1304925"/>
              <a:gd name="connsiteX179" fmla="*/ 320725 w 1197643"/>
              <a:gd name="connsiteY179" fmla="*/ 63500 h 1304925"/>
              <a:gd name="connsiteX180" fmla="*/ 248776 w 1197643"/>
              <a:gd name="connsiteY180" fmla="*/ 31750 h 1304925"/>
              <a:gd name="connsiteX181" fmla="*/ 248776 w 1197643"/>
              <a:gd name="connsiteY181" fmla="*/ 341312 h 1304925"/>
              <a:gd name="connsiteX182" fmla="*/ 947276 w 1197643"/>
              <a:gd name="connsiteY182" fmla="*/ 341312 h 1304925"/>
              <a:gd name="connsiteX183" fmla="*/ 947276 w 1197643"/>
              <a:gd name="connsiteY183" fmla="*/ 31750 h 1304925"/>
              <a:gd name="connsiteX184" fmla="*/ 248776 w 1197643"/>
              <a:gd name="connsiteY184" fmla="*/ 31750 h 1304925"/>
              <a:gd name="connsiteX185" fmla="*/ 226319 w 1197643"/>
              <a:gd name="connsiteY185" fmla="*/ 0 h 1304925"/>
              <a:gd name="connsiteX186" fmla="*/ 969734 w 1197643"/>
              <a:gd name="connsiteY186" fmla="*/ 0 h 1304925"/>
              <a:gd name="connsiteX187" fmla="*/ 979026 w 1197643"/>
              <a:gd name="connsiteY187" fmla="*/ 8576 h 1304925"/>
              <a:gd name="connsiteX188" fmla="*/ 979026 w 1197643"/>
              <a:gd name="connsiteY188" fmla="*/ 363771 h 1304925"/>
              <a:gd name="connsiteX189" fmla="*/ 969734 w 1197643"/>
              <a:gd name="connsiteY189" fmla="*/ 373062 h 1304925"/>
              <a:gd name="connsiteX190" fmla="*/ 226319 w 1197643"/>
              <a:gd name="connsiteY190" fmla="*/ 373062 h 1304925"/>
              <a:gd name="connsiteX191" fmla="*/ 217026 w 1197643"/>
              <a:gd name="connsiteY191" fmla="*/ 363771 h 1304925"/>
              <a:gd name="connsiteX192" fmla="*/ 217026 w 1197643"/>
              <a:gd name="connsiteY192" fmla="*/ 8576 h 1304925"/>
              <a:gd name="connsiteX193" fmla="*/ 226319 w 1197643"/>
              <a:gd name="connsiteY193" fmla="*/ 0 h 130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</a:cxnLst>
            <a:rect l="l" t="t" r="r" b="b"/>
            <a:pathLst>
              <a:path w="1197643" h="1304925">
                <a:moveTo>
                  <a:pt x="1077708" y="315913"/>
                </a:moveTo>
                <a:cubicBezTo>
                  <a:pt x="1074130" y="315913"/>
                  <a:pt x="1069838" y="316627"/>
                  <a:pt x="1066261" y="318056"/>
                </a:cubicBezTo>
                <a:cubicBezTo>
                  <a:pt x="1056245" y="321628"/>
                  <a:pt x="1048375" y="328057"/>
                  <a:pt x="1044083" y="337344"/>
                </a:cubicBezTo>
                <a:cubicBezTo>
                  <a:pt x="1039075" y="346631"/>
                  <a:pt x="1039075" y="356632"/>
                  <a:pt x="1041936" y="366634"/>
                </a:cubicBezTo>
                <a:cubicBezTo>
                  <a:pt x="1041936" y="366634"/>
                  <a:pt x="1041936" y="366634"/>
                  <a:pt x="1065545" y="434499"/>
                </a:cubicBezTo>
                <a:cubicBezTo>
                  <a:pt x="1085577" y="493792"/>
                  <a:pt x="1088439" y="556657"/>
                  <a:pt x="1074130" y="617379"/>
                </a:cubicBezTo>
                <a:cubicBezTo>
                  <a:pt x="1074130" y="617379"/>
                  <a:pt x="1074130" y="617379"/>
                  <a:pt x="1071984" y="623809"/>
                </a:cubicBezTo>
                <a:cubicBezTo>
                  <a:pt x="1056245" y="688817"/>
                  <a:pt x="1019043" y="746681"/>
                  <a:pt x="966816" y="788829"/>
                </a:cubicBezTo>
                <a:cubicBezTo>
                  <a:pt x="966816" y="788829"/>
                  <a:pt x="966816" y="788829"/>
                  <a:pt x="946069" y="805260"/>
                </a:cubicBezTo>
                <a:cubicBezTo>
                  <a:pt x="938199" y="811689"/>
                  <a:pt x="929614" y="814547"/>
                  <a:pt x="920314" y="814547"/>
                </a:cubicBezTo>
                <a:cubicBezTo>
                  <a:pt x="906005" y="814547"/>
                  <a:pt x="893127" y="807403"/>
                  <a:pt x="885258" y="795973"/>
                </a:cubicBezTo>
                <a:cubicBezTo>
                  <a:pt x="878103" y="783829"/>
                  <a:pt x="876673" y="769541"/>
                  <a:pt x="882396" y="756682"/>
                </a:cubicBezTo>
                <a:cubicBezTo>
                  <a:pt x="882396" y="756682"/>
                  <a:pt x="882396" y="756682"/>
                  <a:pt x="931045" y="646669"/>
                </a:cubicBezTo>
                <a:cubicBezTo>
                  <a:pt x="937484" y="631667"/>
                  <a:pt x="931760" y="613807"/>
                  <a:pt x="917452" y="605235"/>
                </a:cubicBezTo>
                <a:cubicBezTo>
                  <a:pt x="912444" y="602377"/>
                  <a:pt x="906721" y="600949"/>
                  <a:pt x="901713" y="600949"/>
                </a:cubicBezTo>
                <a:cubicBezTo>
                  <a:pt x="890266" y="600949"/>
                  <a:pt x="880250" y="606664"/>
                  <a:pt x="873811" y="616665"/>
                </a:cubicBezTo>
                <a:cubicBezTo>
                  <a:pt x="873811" y="616665"/>
                  <a:pt x="873811" y="616665"/>
                  <a:pt x="710693" y="875268"/>
                </a:cubicBezTo>
                <a:cubicBezTo>
                  <a:pt x="696385" y="897414"/>
                  <a:pt x="688515" y="923846"/>
                  <a:pt x="688515" y="950278"/>
                </a:cubicBezTo>
                <a:cubicBezTo>
                  <a:pt x="688515" y="950278"/>
                  <a:pt x="688515" y="950278"/>
                  <a:pt x="689946" y="1273175"/>
                </a:cubicBezTo>
                <a:cubicBezTo>
                  <a:pt x="689946" y="1273175"/>
                  <a:pt x="689946" y="1273175"/>
                  <a:pt x="956800" y="1273175"/>
                </a:cubicBezTo>
                <a:cubicBezTo>
                  <a:pt x="956800" y="1273175"/>
                  <a:pt x="956800" y="1273175"/>
                  <a:pt x="956800" y="1096010"/>
                </a:cubicBezTo>
                <a:cubicBezTo>
                  <a:pt x="956800" y="1094581"/>
                  <a:pt x="956800" y="1093153"/>
                  <a:pt x="956800" y="1091724"/>
                </a:cubicBezTo>
                <a:cubicBezTo>
                  <a:pt x="961808" y="1057434"/>
                  <a:pt x="974686" y="1024573"/>
                  <a:pt x="993287" y="995998"/>
                </a:cubicBezTo>
                <a:cubicBezTo>
                  <a:pt x="993287" y="995998"/>
                  <a:pt x="993287" y="995998"/>
                  <a:pt x="1059822" y="896700"/>
                </a:cubicBezTo>
                <a:cubicBezTo>
                  <a:pt x="1104894" y="828120"/>
                  <a:pt x="1136373" y="753110"/>
                  <a:pt x="1153543" y="672386"/>
                </a:cubicBezTo>
                <a:cubicBezTo>
                  <a:pt x="1153543" y="672386"/>
                  <a:pt x="1153543" y="672386"/>
                  <a:pt x="1156405" y="659527"/>
                </a:cubicBezTo>
                <a:cubicBezTo>
                  <a:pt x="1174290" y="575945"/>
                  <a:pt x="1168567" y="488792"/>
                  <a:pt x="1138519" y="408067"/>
                </a:cubicBezTo>
                <a:cubicBezTo>
                  <a:pt x="1138519" y="408067"/>
                  <a:pt x="1138519" y="408067"/>
                  <a:pt x="1113479" y="340916"/>
                </a:cubicBezTo>
                <a:cubicBezTo>
                  <a:pt x="1107756" y="325914"/>
                  <a:pt x="1093447" y="315913"/>
                  <a:pt x="1077708" y="315913"/>
                </a:cubicBezTo>
                <a:close/>
                <a:moveTo>
                  <a:pt x="118348" y="315913"/>
                </a:moveTo>
                <a:cubicBezTo>
                  <a:pt x="102609" y="315913"/>
                  <a:pt x="88300" y="325914"/>
                  <a:pt x="82577" y="340916"/>
                </a:cubicBezTo>
                <a:cubicBezTo>
                  <a:pt x="82577" y="340916"/>
                  <a:pt x="82577" y="340916"/>
                  <a:pt x="57537" y="408067"/>
                </a:cubicBezTo>
                <a:cubicBezTo>
                  <a:pt x="27489" y="488792"/>
                  <a:pt x="21765" y="575945"/>
                  <a:pt x="39651" y="659527"/>
                </a:cubicBezTo>
                <a:cubicBezTo>
                  <a:pt x="39651" y="659527"/>
                  <a:pt x="39651" y="659527"/>
                  <a:pt x="42513" y="672386"/>
                </a:cubicBezTo>
                <a:cubicBezTo>
                  <a:pt x="59683" y="753110"/>
                  <a:pt x="91162" y="828120"/>
                  <a:pt x="136234" y="896700"/>
                </a:cubicBezTo>
                <a:cubicBezTo>
                  <a:pt x="136234" y="896700"/>
                  <a:pt x="136234" y="896700"/>
                  <a:pt x="202768" y="995998"/>
                </a:cubicBezTo>
                <a:cubicBezTo>
                  <a:pt x="221369" y="1024573"/>
                  <a:pt x="234247" y="1057434"/>
                  <a:pt x="239255" y="1091724"/>
                </a:cubicBezTo>
                <a:cubicBezTo>
                  <a:pt x="239255" y="1093153"/>
                  <a:pt x="239255" y="1094581"/>
                  <a:pt x="239255" y="1096010"/>
                </a:cubicBezTo>
                <a:cubicBezTo>
                  <a:pt x="239255" y="1096010"/>
                  <a:pt x="239255" y="1096010"/>
                  <a:pt x="239255" y="1273175"/>
                </a:cubicBezTo>
                <a:cubicBezTo>
                  <a:pt x="239255" y="1273175"/>
                  <a:pt x="239255" y="1273175"/>
                  <a:pt x="506109" y="1273175"/>
                </a:cubicBezTo>
                <a:cubicBezTo>
                  <a:pt x="506109" y="1273175"/>
                  <a:pt x="506109" y="1273175"/>
                  <a:pt x="507540" y="950278"/>
                </a:cubicBezTo>
                <a:cubicBezTo>
                  <a:pt x="507540" y="923846"/>
                  <a:pt x="499671" y="897414"/>
                  <a:pt x="485362" y="875268"/>
                </a:cubicBezTo>
                <a:cubicBezTo>
                  <a:pt x="485362" y="875268"/>
                  <a:pt x="485362" y="875268"/>
                  <a:pt x="322245" y="616665"/>
                </a:cubicBezTo>
                <a:cubicBezTo>
                  <a:pt x="315806" y="606664"/>
                  <a:pt x="305790" y="600949"/>
                  <a:pt x="294343" y="600949"/>
                </a:cubicBezTo>
                <a:cubicBezTo>
                  <a:pt x="289335" y="600949"/>
                  <a:pt x="283612" y="602377"/>
                  <a:pt x="278604" y="605235"/>
                </a:cubicBezTo>
                <a:cubicBezTo>
                  <a:pt x="264295" y="613807"/>
                  <a:pt x="258572" y="631667"/>
                  <a:pt x="265010" y="646669"/>
                </a:cubicBezTo>
                <a:cubicBezTo>
                  <a:pt x="265010" y="646669"/>
                  <a:pt x="265010" y="646669"/>
                  <a:pt x="313659" y="756682"/>
                </a:cubicBezTo>
                <a:cubicBezTo>
                  <a:pt x="319383" y="769541"/>
                  <a:pt x="317952" y="783829"/>
                  <a:pt x="310798" y="795973"/>
                </a:cubicBezTo>
                <a:cubicBezTo>
                  <a:pt x="302928" y="807403"/>
                  <a:pt x="290050" y="814547"/>
                  <a:pt x="275742" y="814547"/>
                </a:cubicBezTo>
                <a:cubicBezTo>
                  <a:pt x="266441" y="814547"/>
                  <a:pt x="257856" y="811689"/>
                  <a:pt x="249986" y="805260"/>
                </a:cubicBezTo>
                <a:cubicBezTo>
                  <a:pt x="249986" y="805260"/>
                  <a:pt x="249986" y="805260"/>
                  <a:pt x="229239" y="788829"/>
                </a:cubicBezTo>
                <a:cubicBezTo>
                  <a:pt x="177013" y="746681"/>
                  <a:pt x="139811" y="688817"/>
                  <a:pt x="124071" y="623809"/>
                </a:cubicBezTo>
                <a:cubicBezTo>
                  <a:pt x="124071" y="623809"/>
                  <a:pt x="124071" y="623809"/>
                  <a:pt x="121925" y="617379"/>
                </a:cubicBezTo>
                <a:cubicBezTo>
                  <a:pt x="107616" y="556657"/>
                  <a:pt x="110478" y="493792"/>
                  <a:pt x="130510" y="434499"/>
                </a:cubicBezTo>
                <a:cubicBezTo>
                  <a:pt x="130510" y="434499"/>
                  <a:pt x="130510" y="434499"/>
                  <a:pt x="154119" y="366634"/>
                </a:cubicBezTo>
                <a:cubicBezTo>
                  <a:pt x="157696" y="356632"/>
                  <a:pt x="156981" y="346631"/>
                  <a:pt x="151973" y="337344"/>
                </a:cubicBezTo>
                <a:cubicBezTo>
                  <a:pt x="147680" y="328057"/>
                  <a:pt x="139811" y="321628"/>
                  <a:pt x="129795" y="318056"/>
                </a:cubicBezTo>
                <a:cubicBezTo>
                  <a:pt x="126218" y="316627"/>
                  <a:pt x="121925" y="315913"/>
                  <a:pt x="118348" y="315913"/>
                </a:cubicBezTo>
                <a:close/>
                <a:moveTo>
                  <a:pt x="1078223" y="284163"/>
                </a:moveTo>
                <a:cubicBezTo>
                  <a:pt x="1106785" y="284163"/>
                  <a:pt x="1133206" y="302034"/>
                  <a:pt x="1143202" y="329912"/>
                </a:cubicBezTo>
                <a:cubicBezTo>
                  <a:pt x="1143202" y="329912"/>
                  <a:pt x="1143202" y="329912"/>
                  <a:pt x="1168195" y="396390"/>
                </a:cubicBezTo>
                <a:cubicBezTo>
                  <a:pt x="1199614" y="482883"/>
                  <a:pt x="1206040" y="576524"/>
                  <a:pt x="1186760" y="665877"/>
                </a:cubicBezTo>
                <a:cubicBezTo>
                  <a:pt x="1186760" y="665877"/>
                  <a:pt x="1186760" y="665877"/>
                  <a:pt x="1183904" y="679458"/>
                </a:cubicBezTo>
                <a:cubicBezTo>
                  <a:pt x="1166767" y="763092"/>
                  <a:pt x="1133206" y="842437"/>
                  <a:pt x="1086077" y="913919"/>
                </a:cubicBezTo>
                <a:cubicBezTo>
                  <a:pt x="1086077" y="913919"/>
                  <a:pt x="1086077" y="913919"/>
                  <a:pt x="1020383" y="1013279"/>
                </a:cubicBezTo>
                <a:cubicBezTo>
                  <a:pt x="1003960" y="1038298"/>
                  <a:pt x="993249" y="1066890"/>
                  <a:pt x="988964" y="1096198"/>
                </a:cubicBezTo>
                <a:cubicBezTo>
                  <a:pt x="988964" y="1096198"/>
                  <a:pt x="988964" y="1096198"/>
                  <a:pt x="989678" y="1289199"/>
                </a:cubicBezTo>
                <a:cubicBezTo>
                  <a:pt x="989678" y="1297777"/>
                  <a:pt x="982538" y="1304925"/>
                  <a:pt x="973969" y="1304925"/>
                </a:cubicBezTo>
                <a:cubicBezTo>
                  <a:pt x="973969" y="1304925"/>
                  <a:pt x="973969" y="1304925"/>
                  <a:pt x="667635" y="1304925"/>
                </a:cubicBezTo>
                <a:cubicBezTo>
                  <a:pt x="662637" y="1302066"/>
                  <a:pt x="659780" y="1296347"/>
                  <a:pt x="659780" y="1291344"/>
                </a:cubicBezTo>
                <a:cubicBezTo>
                  <a:pt x="659780" y="1291344"/>
                  <a:pt x="659780" y="1291344"/>
                  <a:pt x="658352" y="950375"/>
                </a:cubicBezTo>
                <a:cubicBezTo>
                  <a:pt x="658352" y="917493"/>
                  <a:pt x="667635" y="886041"/>
                  <a:pt x="684773" y="858163"/>
                </a:cubicBezTo>
                <a:cubicBezTo>
                  <a:pt x="684773" y="858163"/>
                  <a:pt x="684773" y="858163"/>
                  <a:pt x="849008" y="599398"/>
                </a:cubicBezTo>
                <a:cubicBezTo>
                  <a:pt x="860433" y="580098"/>
                  <a:pt x="881141" y="569376"/>
                  <a:pt x="902563" y="569376"/>
                </a:cubicBezTo>
                <a:cubicBezTo>
                  <a:pt x="912559" y="569376"/>
                  <a:pt x="923984" y="572235"/>
                  <a:pt x="933267" y="577954"/>
                </a:cubicBezTo>
                <a:cubicBezTo>
                  <a:pt x="961830" y="594395"/>
                  <a:pt x="973969" y="629421"/>
                  <a:pt x="960402" y="659443"/>
                </a:cubicBezTo>
                <a:cubicBezTo>
                  <a:pt x="960402" y="659443"/>
                  <a:pt x="960402" y="659443"/>
                  <a:pt x="911845" y="769525"/>
                </a:cubicBezTo>
                <a:cubicBezTo>
                  <a:pt x="908989" y="776674"/>
                  <a:pt x="914702" y="783107"/>
                  <a:pt x="921128" y="783107"/>
                </a:cubicBezTo>
                <a:cubicBezTo>
                  <a:pt x="922556" y="783107"/>
                  <a:pt x="924699" y="782392"/>
                  <a:pt x="926841" y="780963"/>
                </a:cubicBezTo>
                <a:cubicBezTo>
                  <a:pt x="926841" y="780963"/>
                  <a:pt x="926841" y="780963"/>
                  <a:pt x="948263" y="763807"/>
                </a:cubicBezTo>
                <a:cubicBezTo>
                  <a:pt x="994677" y="726636"/>
                  <a:pt x="1028238" y="674454"/>
                  <a:pt x="1042519" y="616554"/>
                </a:cubicBezTo>
                <a:cubicBezTo>
                  <a:pt x="1042519" y="616554"/>
                  <a:pt x="1042519" y="616554"/>
                  <a:pt x="1043947" y="609406"/>
                </a:cubicBezTo>
                <a:cubicBezTo>
                  <a:pt x="1057515" y="555080"/>
                  <a:pt x="1054658" y="497894"/>
                  <a:pt x="1036093" y="444997"/>
                </a:cubicBezTo>
                <a:cubicBezTo>
                  <a:pt x="1036093" y="444997"/>
                  <a:pt x="1036093" y="444997"/>
                  <a:pt x="1013243" y="376375"/>
                </a:cubicBezTo>
                <a:cubicBezTo>
                  <a:pt x="1000389" y="339919"/>
                  <a:pt x="1019669" y="299889"/>
                  <a:pt x="1056801" y="287737"/>
                </a:cubicBezTo>
                <a:cubicBezTo>
                  <a:pt x="1063941" y="285593"/>
                  <a:pt x="1071082" y="284163"/>
                  <a:pt x="1078223" y="284163"/>
                </a:cubicBezTo>
                <a:close/>
                <a:moveTo>
                  <a:pt x="119420" y="284163"/>
                </a:moveTo>
                <a:cubicBezTo>
                  <a:pt x="126561" y="284163"/>
                  <a:pt x="133701" y="285593"/>
                  <a:pt x="140842" y="287737"/>
                </a:cubicBezTo>
                <a:cubicBezTo>
                  <a:pt x="177973" y="299889"/>
                  <a:pt x="197253" y="339919"/>
                  <a:pt x="184400" y="376375"/>
                </a:cubicBezTo>
                <a:cubicBezTo>
                  <a:pt x="184400" y="376375"/>
                  <a:pt x="184400" y="376375"/>
                  <a:pt x="161550" y="444997"/>
                </a:cubicBezTo>
                <a:cubicBezTo>
                  <a:pt x="142984" y="497894"/>
                  <a:pt x="140128" y="555080"/>
                  <a:pt x="153695" y="609406"/>
                </a:cubicBezTo>
                <a:cubicBezTo>
                  <a:pt x="153695" y="609406"/>
                  <a:pt x="153695" y="609406"/>
                  <a:pt x="155123" y="616554"/>
                </a:cubicBezTo>
                <a:cubicBezTo>
                  <a:pt x="169404" y="674454"/>
                  <a:pt x="202966" y="726636"/>
                  <a:pt x="249380" y="763807"/>
                </a:cubicBezTo>
                <a:cubicBezTo>
                  <a:pt x="249380" y="763807"/>
                  <a:pt x="249380" y="763807"/>
                  <a:pt x="270802" y="780963"/>
                </a:cubicBezTo>
                <a:cubicBezTo>
                  <a:pt x="272944" y="782392"/>
                  <a:pt x="275086" y="783107"/>
                  <a:pt x="276514" y="783107"/>
                </a:cubicBezTo>
                <a:cubicBezTo>
                  <a:pt x="282941" y="783107"/>
                  <a:pt x="288653" y="776674"/>
                  <a:pt x="285797" y="769525"/>
                </a:cubicBezTo>
                <a:cubicBezTo>
                  <a:pt x="285797" y="769525"/>
                  <a:pt x="285797" y="769525"/>
                  <a:pt x="237241" y="659443"/>
                </a:cubicBezTo>
                <a:cubicBezTo>
                  <a:pt x="223673" y="629421"/>
                  <a:pt x="235813" y="594395"/>
                  <a:pt x="264375" y="577954"/>
                </a:cubicBezTo>
                <a:cubicBezTo>
                  <a:pt x="273658" y="572235"/>
                  <a:pt x="285083" y="569376"/>
                  <a:pt x="295080" y="569376"/>
                </a:cubicBezTo>
                <a:cubicBezTo>
                  <a:pt x="316502" y="569376"/>
                  <a:pt x="337210" y="580098"/>
                  <a:pt x="348635" y="599398"/>
                </a:cubicBezTo>
                <a:cubicBezTo>
                  <a:pt x="348635" y="599398"/>
                  <a:pt x="348635" y="599398"/>
                  <a:pt x="512870" y="858163"/>
                </a:cubicBezTo>
                <a:cubicBezTo>
                  <a:pt x="530007" y="886041"/>
                  <a:pt x="539290" y="917493"/>
                  <a:pt x="539290" y="950375"/>
                </a:cubicBezTo>
                <a:cubicBezTo>
                  <a:pt x="539290" y="950375"/>
                  <a:pt x="539290" y="950375"/>
                  <a:pt x="537862" y="1291344"/>
                </a:cubicBezTo>
                <a:cubicBezTo>
                  <a:pt x="537862" y="1296347"/>
                  <a:pt x="535006" y="1302066"/>
                  <a:pt x="530007" y="1304925"/>
                </a:cubicBezTo>
                <a:cubicBezTo>
                  <a:pt x="530007" y="1304925"/>
                  <a:pt x="530007" y="1304925"/>
                  <a:pt x="224387" y="1304925"/>
                </a:cubicBezTo>
                <a:cubicBezTo>
                  <a:pt x="223673" y="1304925"/>
                  <a:pt x="223673" y="1304925"/>
                  <a:pt x="223673" y="1304925"/>
                </a:cubicBezTo>
                <a:cubicBezTo>
                  <a:pt x="215105" y="1304925"/>
                  <a:pt x="207964" y="1297777"/>
                  <a:pt x="207964" y="1289199"/>
                </a:cubicBezTo>
                <a:cubicBezTo>
                  <a:pt x="207964" y="1289199"/>
                  <a:pt x="207964" y="1289199"/>
                  <a:pt x="208678" y="1096198"/>
                </a:cubicBezTo>
                <a:cubicBezTo>
                  <a:pt x="204394" y="1066890"/>
                  <a:pt x="193683" y="1038298"/>
                  <a:pt x="177259" y="1013279"/>
                </a:cubicBezTo>
                <a:cubicBezTo>
                  <a:pt x="177259" y="1013279"/>
                  <a:pt x="177259" y="1013279"/>
                  <a:pt x="111565" y="913919"/>
                </a:cubicBezTo>
                <a:cubicBezTo>
                  <a:pt x="64437" y="842437"/>
                  <a:pt x="30876" y="763092"/>
                  <a:pt x="13738" y="679458"/>
                </a:cubicBezTo>
                <a:cubicBezTo>
                  <a:pt x="13738" y="679458"/>
                  <a:pt x="13738" y="679458"/>
                  <a:pt x="10882" y="665877"/>
                </a:cubicBezTo>
                <a:cubicBezTo>
                  <a:pt x="-8398" y="576524"/>
                  <a:pt x="-1971" y="482883"/>
                  <a:pt x="29448" y="396390"/>
                </a:cubicBezTo>
                <a:cubicBezTo>
                  <a:pt x="29448" y="396390"/>
                  <a:pt x="29448" y="396390"/>
                  <a:pt x="54440" y="329912"/>
                </a:cubicBezTo>
                <a:cubicBezTo>
                  <a:pt x="64437" y="302034"/>
                  <a:pt x="90857" y="284163"/>
                  <a:pt x="119420" y="284163"/>
                </a:cubicBezTo>
                <a:close/>
                <a:moveTo>
                  <a:pt x="586062" y="84138"/>
                </a:moveTo>
                <a:cubicBezTo>
                  <a:pt x="611739" y="84138"/>
                  <a:pt x="611739" y="84138"/>
                  <a:pt x="611739" y="84138"/>
                </a:cubicBezTo>
                <a:cubicBezTo>
                  <a:pt x="611739" y="102626"/>
                  <a:pt x="611739" y="102626"/>
                  <a:pt x="611739" y="102626"/>
                </a:cubicBezTo>
                <a:cubicBezTo>
                  <a:pt x="624577" y="104048"/>
                  <a:pt x="635988" y="106892"/>
                  <a:pt x="641694" y="112581"/>
                </a:cubicBezTo>
                <a:cubicBezTo>
                  <a:pt x="633849" y="136046"/>
                  <a:pt x="633849" y="136046"/>
                  <a:pt x="633849" y="136046"/>
                </a:cubicBezTo>
                <a:cubicBezTo>
                  <a:pt x="623150" y="128935"/>
                  <a:pt x="611739" y="125380"/>
                  <a:pt x="600327" y="125380"/>
                </a:cubicBezTo>
                <a:cubicBezTo>
                  <a:pt x="593908" y="125380"/>
                  <a:pt x="588915" y="127513"/>
                  <a:pt x="585349" y="130357"/>
                </a:cubicBezTo>
                <a:cubicBezTo>
                  <a:pt x="581070" y="133913"/>
                  <a:pt x="579643" y="138890"/>
                  <a:pt x="579643" y="144579"/>
                </a:cubicBezTo>
                <a:cubicBezTo>
                  <a:pt x="579643" y="153112"/>
                  <a:pt x="589629" y="163066"/>
                  <a:pt x="611025" y="172310"/>
                </a:cubicBezTo>
                <a:cubicBezTo>
                  <a:pt x="621724" y="177999"/>
                  <a:pt x="630282" y="183687"/>
                  <a:pt x="635275" y="187954"/>
                </a:cubicBezTo>
                <a:cubicBezTo>
                  <a:pt x="639554" y="192220"/>
                  <a:pt x="642407" y="197198"/>
                  <a:pt x="645260" y="202886"/>
                </a:cubicBezTo>
                <a:cubicBezTo>
                  <a:pt x="647400" y="209286"/>
                  <a:pt x="648826" y="214974"/>
                  <a:pt x="648826" y="222085"/>
                </a:cubicBezTo>
                <a:cubicBezTo>
                  <a:pt x="648826" y="232751"/>
                  <a:pt x="645973" y="241284"/>
                  <a:pt x="638841" y="249105"/>
                </a:cubicBezTo>
                <a:cubicBezTo>
                  <a:pt x="633135" y="256216"/>
                  <a:pt x="623150" y="261905"/>
                  <a:pt x="611739" y="264749"/>
                </a:cubicBezTo>
                <a:cubicBezTo>
                  <a:pt x="611739" y="288925"/>
                  <a:pt x="611739" y="288925"/>
                  <a:pt x="611739" y="288925"/>
                </a:cubicBezTo>
                <a:cubicBezTo>
                  <a:pt x="586062" y="288925"/>
                  <a:pt x="586062" y="288925"/>
                  <a:pt x="586062" y="288925"/>
                </a:cubicBezTo>
                <a:cubicBezTo>
                  <a:pt x="586062" y="266171"/>
                  <a:pt x="586062" y="266171"/>
                  <a:pt x="586062" y="266171"/>
                </a:cubicBezTo>
                <a:cubicBezTo>
                  <a:pt x="573224" y="266171"/>
                  <a:pt x="561813" y="261905"/>
                  <a:pt x="550401" y="254794"/>
                </a:cubicBezTo>
                <a:cubicBezTo>
                  <a:pt x="561813" y="229907"/>
                  <a:pt x="561813" y="229907"/>
                  <a:pt x="561813" y="229907"/>
                </a:cubicBezTo>
                <a:cubicBezTo>
                  <a:pt x="572511" y="237728"/>
                  <a:pt x="583923" y="241284"/>
                  <a:pt x="594621" y="241284"/>
                </a:cubicBezTo>
                <a:cubicBezTo>
                  <a:pt x="611739" y="241284"/>
                  <a:pt x="620297" y="235595"/>
                  <a:pt x="620297" y="224218"/>
                </a:cubicBezTo>
                <a:cubicBezTo>
                  <a:pt x="620297" y="218530"/>
                  <a:pt x="618158" y="213552"/>
                  <a:pt x="613878" y="208575"/>
                </a:cubicBezTo>
                <a:cubicBezTo>
                  <a:pt x="609599" y="203597"/>
                  <a:pt x="601040" y="197909"/>
                  <a:pt x="588915" y="191509"/>
                </a:cubicBezTo>
                <a:cubicBezTo>
                  <a:pt x="576791" y="185821"/>
                  <a:pt x="569658" y="180843"/>
                  <a:pt x="564666" y="177288"/>
                </a:cubicBezTo>
                <a:cubicBezTo>
                  <a:pt x="560386" y="172310"/>
                  <a:pt x="557533" y="168044"/>
                  <a:pt x="553967" y="162355"/>
                </a:cubicBezTo>
                <a:cubicBezTo>
                  <a:pt x="551828" y="156667"/>
                  <a:pt x="551114" y="150978"/>
                  <a:pt x="551114" y="144579"/>
                </a:cubicBezTo>
                <a:cubicBezTo>
                  <a:pt x="551114" y="133913"/>
                  <a:pt x="553967" y="125380"/>
                  <a:pt x="561100" y="118980"/>
                </a:cubicBezTo>
                <a:cubicBezTo>
                  <a:pt x="567519" y="111870"/>
                  <a:pt x="575364" y="106892"/>
                  <a:pt x="586062" y="104048"/>
                </a:cubicBezTo>
                <a:cubicBezTo>
                  <a:pt x="586062" y="84138"/>
                  <a:pt x="586062" y="84138"/>
                  <a:pt x="586062" y="84138"/>
                </a:cubicBezTo>
                <a:close/>
                <a:moveTo>
                  <a:pt x="650414" y="63500"/>
                </a:moveTo>
                <a:cubicBezTo>
                  <a:pt x="650414" y="63500"/>
                  <a:pt x="650414" y="63500"/>
                  <a:pt x="877654" y="63500"/>
                </a:cubicBezTo>
                <a:cubicBezTo>
                  <a:pt x="877654" y="63500"/>
                  <a:pt x="877654" y="63500"/>
                  <a:pt x="877654" y="64218"/>
                </a:cubicBezTo>
                <a:cubicBezTo>
                  <a:pt x="876939" y="67087"/>
                  <a:pt x="876225" y="70674"/>
                  <a:pt x="876225" y="73543"/>
                </a:cubicBezTo>
                <a:cubicBezTo>
                  <a:pt x="876225" y="89326"/>
                  <a:pt x="889087" y="102956"/>
                  <a:pt x="904808" y="102956"/>
                </a:cubicBezTo>
                <a:cubicBezTo>
                  <a:pt x="907667" y="102956"/>
                  <a:pt x="911240" y="101521"/>
                  <a:pt x="914098" y="100804"/>
                </a:cubicBezTo>
                <a:cubicBezTo>
                  <a:pt x="914813" y="100804"/>
                  <a:pt x="915527" y="100804"/>
                  <a:pt x="915527" y="101521"/>
                </a:cubicBezTo>
                <a:cubicBezTo>
                  <a:pt x="915527" y="101521"/>
                  <a:pt x="915527" y="101521"/>
                  <a:pt x="915527" y="272976"/>
                </a:cubicBezTo>
                <a:cubicBezTo>
                  <a:pt x="915527" y="273693"/>
                  <a:pt x="914813" y="274410"/>
                  <a:pt x="914098" y="274410"/>
                </a:cubicBezTo>
                <a:cubicBezTo>
                  <a:pt x="911240" y="272976"/>
                  <a:pt x="907667" y="272258"/>
                  <a:pt x="904808" y="272258"/>
                </a:cubicBezTo>
                <a:cubicBezTo>
                  <a:pt x="889087" y="272258"/>
                  <a:pt x="876225" y="285171"/>
                  <a:pt x="876225" y="300954"/>
                </a:cubicBezTo>
                <a:cubicBezTo>
                  <a:pt x="876225" y="303823"/>
                  <a:pt x="876225" y="305975"/>
                  <a:pt x="876939" y="308845"/>
                </a:cubicBezTo>
                <a:cubicBezTo>
                  <a:pt x="876939" y="308845"/>
                  <a:pt x="876939" y="308845"/>
                  <a:pt x="876939" y="309562"/>
                </a:cubicBezTo>
                <a:cubicBezTo>
                  <a:pt x="876939" y="309562"/>
                  <a:pt x="876939" y="309562"/>
                  <a:pt x="650414" y="309562"/>
                </a:cubicBezTo>
                <a:cubicBezTo>
                  <a:pt x="650414" y="308845"/>
                  <a:pt x="650414" y="308845"/>
                  <a:pt x="651129" y="308127"/>
                </a:cubicBezTo>
                <a:cubicBezTo>
                  <a:pt x="680427" y="287323"/>
                  <a:pt x="708296" y="239976"/>
                  <a:pt x="708296" y="186890"/>
                </a:cubicBezTo>
                <a:cubicBezTo>
                  <a:pt x="708296" y="133086"/>
                  <a:pt x="680427" y="86456"/>
                  <a:pt x="651129" y="64935"/>
                </a:cubicBezTo>
                <a:cubicBezTo>
                  <a:pt x="650414" y="64218"/>
                  <a:pt x="650414" y="64218"/>
                  <a:pt x="650414" y="63500"/>
                </a:cubicBezTo>
                <a:close/>
                <a:moveTo>
                  <a:pt x="320725" y="63500"/>
                </a:moveTo>
                <a:cubicBezTo>
                  <a:pt x="320725" y="63500"/>
                  <a:pt x="320725" y="63500"/>
                  <a:pt x="548099" y="63500"/>
                </a:cubicBezTo>
                <a:cubicBezTo>
                  <a:pt x="548814" y="64218"/>
                  <a:pt x="548099" y="64218"/>
                  <a:pt x="547384" y="64935"/>
                </a:cubicBezTo>
                <a:cubicBezTo>
                  <a:pt x="518784" y="86456"/>
                  <a:pt x="490183" y="133086"/>
                  <a:pt x="490183" y="186890"/>
                </a:cubicBezTo>
                <a:cubicBezTo>
                  <a:pt x="490183" y="239976"/>
                  <a:pt x="518784" y="287323"/>
                  <a:pt x="547384" y="308127"/>
                </a:cubicBezTo>
                <a:cubicBezTo>
                  <a:pt x="548099" y="308845"/>
                  <a:pt x="548814" y="308845"/>
                  <a:pt x="548099" y="309562"/>
                </a:cubicBezTo>
                <a:cubicBezTo>
                  <a:pt x="548099" y="309562"/>
                  <a:pt x="548099" y="309562"/>
                  <a:pt x="320725" y="309562"/>
                </a:cubicBezTo>
                <a:cubicBezTo>
                  <a:pt x="320725" y="309562"/>
                  <a:pt x="320725" y="309562"/>
                  <a:pt x="320725" y="308845"/>
                </a:cubicBezTo>
                <a:cubicBezTo>
                  <a:pt x="321440" y="305975"/>
                  <a:pt x="322155" y="303823"/>
                  <a:pt x="322155" y="300954"/>
                </a:cubicBezTo>
                <a:cubicBezTo>
                  <a:pt x="322155" y="285171"/>
                  <a:pt x="308570" y="272258"/>
                  <a:pt x="292839" y="272258"/>
                </a:cubicBezTo>
                <a:cubicBezTo>
                  <a:pt x="289979" y="272258"/>
                  <a:pt x="286404" y="272976"/>
                  <a:pt x="284259" y="273693"/>
                </a:cubicBezTo>
                <a:cubicBezTo>
                  <a:pt x="282829" y="274410"/>
                  <a:pt x="282114" y="273693"/>
                  <a:pt x="282114" y="272976"/>
                </a:cubicBezTo>
                <a:cubicBezTo>
                  <a:pt x="282114" y="272976"/>
                  <a:pt x="282114" y="272976"/>
                  <a:pt x="282114" y="102239"/>
                </a:cubicBezTo>
                <a:cubicBezTo>
                  <a:pt x="282114" y="100804"/>
                  <a:pt x="282829" y="100804"/>
                  <a:pt x="284259" y="100804"/>
                </a:cubicBezTo>
                <a:cubicBezTo>
                  <a:pt x="286404" y="101521"/>
                  <a:pt x="289979" y="102956"/>
                  <a:pt x="292839" y="102956"/>
                </a:cubicBezTo>
                <a:cubicBezTo>
                  <a:pt x="308570" y="102956"/>
                  <a:pt x="322155" y="89326"/>
                  <a:pt x="322155" y="73543"/>
                </a:cubicBezTo>
                <a:cubicBezTo>
                  <a:pt x="322155" y="70674"/>
                  <a:pt x="321440" y="67087"/>
                  <a:pt x="320725" y="64218"/>
                </a:cubicBezTo>
                <a:cubicBezTo>
                  <a:pt x="320725" y="64218"/>
                  <a:pt x="320725" y="64218"/>
                  <a:pt x="320725" y="63500"/>
                </a:cubicBezTo>
                <a:close/>
                <a:moveTo>
                  <a:pt x="248776" y="31750"/>
                </a:moveTo>
                <a:cubicBezTo>
                  <a:pt x="248776" y="31750"/>
                  <a:pt x="248776" y="31750"/>
                  <a:pt x="248776" y="341312"/>
                </a:cubicBezTo>
                <a:cubicBezTo>
                  <a:pt x="248776" y="341312"/>
                  <a:pt x="248776" y="341312"/>
                  <a:pt x="947276" y="341312"/>
                </a:cubicBezTo>
                <a:cubicBezTo>
                  <a:pt x="947276" y="341312"/>
                  <a:pt x="947276" y="341312"/>
                  <a:pt x="947276" y="31750"/>
                </a:cubicBezTo>
                <a:cubicBezTo>
                  <a:pt x="947276" y="31750"/>
                  <a:pt x="947276" y="31750"/>
                  <a:pt x="248776" y="31750"/>
                </a:cubicBezTo>
                <a:close/>
                <a:moveTo>
                  <a:pt x="226319" y="0"/>
                </a:moveTo>
                <a:cubicBezTo>
                  <a:pt x="969734" y="0"/>
                  <a:pt x="969734" y="0"/>
                  <a:pt x="969734" y="0"/>
                </a:cubicBezTo>
                <a:cubicBezTo>
                  <a:pt x="975452" y="0"/>
                  <a:pt x="979026" y="3574"/>
                  <a:pt x="979026" y="8576"/>
                </a:cubicBezTo>
                <a:cubicBezTo>
                  <a:pt x="979026" y="363771"/>
                  <a:pt x="979026" y="363771"/>
                  <a:pt x="979026" y="363771"/>
                </a:cubicBezTo>
                <a:cubicBezTo>
                  <a:pt x="979026" y="368774"/>
                  <a:pt x="975452" y="373062"/>
                  <a:pt x="969734" y="373062"/>
                </a:cubicBezTo>
                <a:cubicBezTo>
                  <a:pt x="226319" y="373062"/>
                  <a:pt x="226319" y="373062"/>
                  <a:pt x="226319" y="373062"/>
                </a:cubicBezTo>
                <a:cubicBezTo>
                  <a:pt x="221315" y="373062"/>
                  <a:pt x="217026" y="368774"/>
                  <a:pt x="217026" y="363771"/>
                </a:cubicBezTo>
                <a:cubicBezTo>
                  <a:pt x="217026" y="8576"/>
                  <a:pt x="217026" y="8576"/>
                  <a:pt x="217026" y="8576"/>
                </a:cubicBezTo>
                <a:cubicBezTo>
                  <a:pt x="217026" y="3574"/>
                  <a:pt x="221315" y="0"/>
                  <a:pt x="226319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chemeClr val="tx2">
                  <a:lumMod val="100000"/>
                </a:schemeClr>
              </a:solidFill>
            </a:endParaRPr>
          </a:p>
        </p:txBody>
      </p:sp>
      <p:cxnSp>
        <p:nvCxnSpPr>
          <p:cNvPr id="18" name="Straight Connector 66"/>
          <p:cNvCxnSpPr/>
          <p:nvPr/>
        </p:nvCxnSpPr>
        <p:spPr>
          <a:xfrm>
            <a:off x="715618" y="4433470"/>
            <a:ext cx="1064480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136"/>
          <p:cNvGrpSpPr/>
          <p:nvPr/>
        </p:nvGrpSpPr>
        <p:grpSpPr>
          <a:xfrm>
            <a:off x="717628" y="2941638"/>
            <a:ext cx="5166336" cy="1295400"/>
            <a:chOff x="717628" y="4177904"/>
            <a:chExt cx="5166336" cy="698750"/>
          </a:xfrm>
        </p:grpSpPr>
        <p:sp>
          <p:nvSpPr>
            <p:cNvPr id="26" name="TextBox 25"/>
            <p:cNvSpPr txBox="1"/>
            <p:nvPr/>
          </p:nvSpPr>
          <p:spPr>
            <a:xfrm>
              <a:off x="717628" y="4177904"/>
              <a:ext cx="1555669" cy="698750"/>
            </a:xfrm>
            <a:prstGeom prst="rect">
              <a:avLst/>
            </a:prstGeom>
            <a:solidFill>
              <a:srgbClr val="29BA74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400" b="1" dirty="0">
                  <a:solidFill>
                    <a:srgbClr val="FFFFFF"/>
                  </a:solidFill>
                </a:rPr>
                <a:t>Παραγωγή </a:t>
              </a:r>
              <a:r>
                <a:rPr lang="el-GR" sz="1400" b="1" dirty="0" err="1">
                  <a:solidFill>
                    <a:srgbClr val="FFFFFF"/>
                  </a:solidFill>
                </a:rPr>
                <a:t>λιγνιτικών</a:t>
              </a:r>
              <a:r>
                <a:rPr lang="el-GR" sz="1400" b="1" dirty="0">
                  <a:solidFill>
                    <a:srgbClr val="FFFFFF"/>
                  </a:solidFill>
                </a:rPr>
                <a:t> μονάδων 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433636" y="4177904"/>
              <a:ext cx="3450328" cy="69875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 smtClean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Ήδη από </a:t>
              </a:r>
              <a:r>
                <a:rPr lang="el-GR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το 2011, η παραγωγή μειώθηκε κατά 62,2%</a:t>
              </a:r>
              <a:endParaRPr lang="en-US" sz="1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31" name="Group 136"/>
          <p:cNvGrpSpPr/>
          <p:nvPr/>
        </p:nvGrpSpPr>
        <p:grpSpPr>
          <a:xfrm>
            <a:off x="717628" y="4655840"/>
            <a:ext cx="5166336" cy="1294412"/>
            <a:chOff x="717628" y="4177904"/>
            <a:chExt cx="5166336" cy="698750"/>
          </a:xfrm>
        </p:grpSpPr>
        <p:sp>
          <p:nvSpPr>
            <p:cNvPr id="32" name="TextBox 31"/>
            <p:cNvSpPr txBox="1"/>
            <p:nvPr/>
          </p:nvSpPr>
          <p:spPr>
            <a:xfrm>
              <a:off x="717628" y="4177904"/>
              <a:ext cx="1555669" cy="698750"/>
            </a:xfrm>
            <a:prstGeom prst="rect">
              <a:avLst/>
            </a:prstGeom>
            <a:solidFill>
              <a:srgbClr val="29BA74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400" b="1" dirty="0" smtClean="0">
                  <a:solidFill>
                    <a:srgbClr val="FFFFFF"/>
                  </a:solidFill>
                </a:rPr>
                <a:t>Βαθμός χρησιμοποίησης δυναμικότητας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433636" y="4177904"/>
              <a:ext cx="3450328" cy="69875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24000" lvl="1" indent="-216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 smtClean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Ο βαθμός </a:t>
              </a:r>
              <a:r>
                <a:rPr lang="el-GR" sz="14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χρησιμοποίησης της δυναμικότητας των μονάδων περιορίστηκε σε 30,5% το 2019 από 62,6% το 2011</a:t>
              </a:r>
              <a:endParaRPr lang="en-US" sz="1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</p:grpSp>
      <p:cxnSp>
        <p:nvCxnSpPr>
          <p:cNvPr id="37" name="Straight Connector 36"/>
          <p:cNvCxnSpPr/>
          <p:nvPr>
            <p:custDataLst>
              <p:tags r:id="rId4"/>
            </p:custDataLst>
          </p:nvPr>
        </p:nvCxnSpPr>
        <p:spPr bwMode="gray">
          <a:xfrm>
            <a:off x="6626225" y="3005138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5"/>
            </p:custDataLst>
          </p:nvPr>
        </p:nvCxnSpPr>
        <p:spPr bwMode="gray">
          <a:xfrm>
            <a:off x="6626225" y="4173538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6"/>
            </p:custDataLst>
          </p:nvPr>
        </p:nvCxnSpPr>
        <p:spPr bwMode="gray">
          <a:xfrm>
            <a:off x="6626225" y="3798888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7"/>
            </p:custDataLst>
          </p:nvPr>
        </p:nvCxnSpPr>
        <p:spPr bwMode="gray">
          <a:xfrm>
            <a:off x="6626225" y="3533775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8"/>
            </p:custDataLst>
          </p:nvPr>
        </p:nvCxnSpPr>
        <p:spPr bwMode="gray">
          <a:xfrm>
            <a:off x="6626225" y="3268663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8" name="Chart 157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98478983"/>
              </p:ext>
            </p:extLst>
          </p:nvPr>
        </p:nvGraphicFramePr>
        <p:xfrm>
          <a:off x="6403975" y="2922588"/>
          <a:ext cx="5221288" cy="1533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62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161088" y="2917825"/>
            <a:ext cx="3794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9867B59-8E17-422B-91A9-0B3444BA84D2}" type="datetime'''''''''''''3''''''0,''''''''0''''0''''''''''''''''''0''''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,000</a:t>
            </a:fld>
            <a:endParaRPr lang="el-GR" sz="1000" dirty="0">
              <a:sym typeface="+mn-lt"/>
            </a:endParaRPr>
          </a:p>
        </p:txBody>
      </p:sp>
      <p:sp>
        <p:nvSpPr>
          <p:cNvPr id="56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73825" y="4086225"/>
            <a:ext cx="66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85DCF1E-FBB6-4139-A110-B815703A0FD9}" type="datetime'''0''''''''''''''''''''''''''''''''''''''''''''''''''''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l-GR" sz="1000" dirty="0">
              <a:sym typeface="+mn-lt"/>
            </a:endParaRPr>
          </a:p>
        </p:txBody>
      </p:sp>
      <p:sp>
        <p:nvSpPr>
          <p:cNvPr id="60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161088" y="3446463"/>
            <a:ext cx="3794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D790BFA-238A-4829-9ADC-094FBA8510C9}" type="datetime'2''''''''''''''''''''''''''0'',0''''0''''''''''''''''''0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,000</a:t>
            </a:fld>
            <a:endParaRPr lang="el-GR" sz="1000" dirty="0">
              <a:sym typeface="+mn-lt"/>
            </a:endParaRPr>
          </a:p>
        </p:txBody>
      </p:sp>
      <p:sp>
        <p:nvSpPr>
          <p:cNvPr id="59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161088" y="3711575"/>
            <a:ext cx="3794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692E5C0-C779-4186-BE2A-7E841AC28A9B}" type="datetime'1''''''''''''''''''''5'''',''''000''''''''''''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5,000</a:t>
            </a:fld>
            <a:endParaRPr lang="el-GR" sz="1000" dirty="0">
              <a:sym typeface="+mn-lt"/>
            </a:endParaRPr>
          </a:p>
        </p:txBody>
      </p:sp>
      <p:sp>
        <p:nvSpPr>
          <p:cNvPr id="61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161088" y="3181350"/>
            <a:ext cx="3794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D8F0A93-C187-4970-8436-3AE2AB217A19}" type="datetime'''''''''''''''''2''''''''5'''',''''''''''''00''''''''''''''0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5,000</a:t>
            </a:fld>
            <a:endParaRPr lang="el-GR" sz="1000" dirty="0">
              <a:sym typeface="+mn-lt"/>
            </a:endParaRPr>
          </a:p>
        </p:txBody>
      </p:sp>
      <p:sp useBgFill="1">
        <p:nvSpPr>
          <p:cNvPr id="22" name="Freeform 21"/>
          <p:cNvSpPr/>
          <p:nvPr>
            <p:custDataLst>
              <p:tags r:id="rId15"/>
            </p:custDataLst>
          </p:nvPr>
        </p:nvSpPr>
        <p:spPr bwMode="auto">
          <a:xfrm>
            <a:off x="6596063" y="40608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1200" dirty="0" smtClean="0">
              <a:solidFill>
                <a:schemeClr val="bg1"/>
              </a:solidFill>
            </a:endParaRPr>
          </a:p>
        </p:txBody>
      </p:sp>
      <p:sp>
        <p:nvSpPr>
          <p:cNvPr id="20" name="Freeform 19"/>
          <p:cNvSpPr/>
          <p:nvPr>
            <p:custDataLst>
              <p:tags r:id="rId16"/>
            </p:custDataLst>
          </p:nvPr>
        </p:nvSpPr>
        <p:spPr bwMode="auto">
          <a:xfrm>
            <a:off x="6596063" y="40608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1" name="Freeform 20"/>
          <p:cNvSpPr/>
          <p:nvPr>
            <p:custDataLst>
              <p:tags r:id="rId17"/>
            </p:custDataLst>
          </p:nvPr>
        </p:nvSpPr>
        <p:spPr bwMode="auto">
          <a:xfrm>
            <a:off x="6596063" y="41179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93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809037" y="3308350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6A4961-BC5D-41BA-99F8-957435FD909F}" type="datetime'''''''''''''1''9,''''''''''''''''41''7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,417</a:t>
            </a:fld>
            <a:endParaRPr lang="el-GR" sz="1000" dirty="0">
              <a:sym typeface="+mn-lt"/>
            </a:endParaRPr>
          </a:p>
        </p:txBody>
      </p:sp>
      <p:sp>
        <p:nvSpPr>
          <p:cNvPr id="97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153774" y="3786188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D773AB-CCFC-477F-86F2-CE13BB0DCE71}" type="datetime'''''10,4''''''''''''''''1''''''''''''''''''''''''''7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,417</a:t>
            </a:fld>
            <a:endParaRPr lang="el-GR" sz="1000" dirty="0">
              <a:sym typeface="+mn-lt"/>
            </a:endParaRPr>
          </a:p>
        </p:txBody>
      </p:sp>
      <p:sp>
        <p:nvSpPr>
          <p:cNvPr id="87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537325" y="2647950"/>
            <a:ext cx="263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err="1">
                <a:sym typeface="+mn-lt"/>
              </a:rPr>
              <a:t>GWh</a:t>
            </a:r>
            <a:endParaRPr lang="el-GR" sz="1000" dirty="0">
              <a:sym typeface="+mn-lt"/>
            </a:endParaRPr>
          </a:p>
        </p:txBody>
      </p:sp>
      <p:sp>
        <p:nvSpPr>
          <p:cNvPr id="90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700837" y="2876550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1412474-0F10-4C81-93B8-15D6A4DEB617}" type="datetime'''''''''''''2''7'''',''''''''5''''''''''''''''7''0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,570</a:t>
            </a:fld>
            <a:endParaRPr lang="el-GR" sz="1000" dirty="0">
              <a:sym typeface="+mn-lt"/>
            </a:endParaRPr>
          </a:p>
        </p:txBody>
      </p:sp>
      <p:sp>
        <p:nvSpPr>
          <p:cNvPr id="91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635874" y="3106738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B60A89-AADE-4681-8814-508CC3338269}" type="datetime'2''''''''''''''''3'''''''',''''''''2''''''2''''''''8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,228</a:t>
            </a:fld>
            <a:endParaRPr lang="el-GR" sz="1000" dirty="0">
              <a:sym typeface="+mn-lt"/>
            </a:endParaRPr>
          </a:p>
        </p:txBody>
      </p:sp>
      <p:sp>
        <p:nvSpPr>
          <p:cNvPr id="92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221662" y="3133725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B6AB46-DF48-4BF6-AD0D-BE559D26F0A6}" type="datetime'2''''''2,''''''''''''''''''''''''''''''''''''''''''''70''7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,707</a:t>
            </a:fld>
            <a:endParaRPr lang="el-GR" sz="1000" dirty="0">
              <a:sym typeface="+mn-lt"/>
            </a:endParaRPr>
          </a:p>
        </p:txBody>
      </p:sp>
      <p:sp>
        <p:nvSpPr>
          <p:cNvPr id="94" name="Text Placeholder 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394824" y="3548063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6F7C240-B2CE-4A08-8886-1F43AB690E3A}" type="datetime'1''''''4'',''''''''''''''''''''''9''''''''0''''0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,900</a:t>
            </a:fld>
            <a:endParaRPr lang="el-GR" sz="1000" dirty="0">
              <a:sym typeface="+mn-lt"/>
            </a:endParaRPr>
          </a:p>
        </p:txBody>
      </p:sp>
      <p:sp>
        <p:nvSpPr>
          <p:cNvPr id="95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980612" y="3468688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2E1FBF8-8CE7-4D03-98D9-9F56E2F49CC6}" type="datetime'''''''''''1''''''''''''''6,''''''''''3''''''8''''''''6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,386</a:t>
            </a:fld>
            <a:endParaRPr lang="el-GR" sz="1000" dirty="0">
              <a:sym typeface="+mn-lt"/>
            </a:endParaRPr>
          </a:p>
        </p:txBody>
      </p:sp>
      <p:sp>
        <p:nvSpPr>
          <p:cNvPr id="96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567987" y="3548063"/>
            <a:ext cx="4143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48F36F5-AB49-4162-B6A7-FFCF8935C28C}" type="datetime'''1''''''''''''''4'''''''''',''''''''''90''''6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,906</a:t>
            </a:fld>
            <a:endParaRPr lang="el-GR" sz="1000" dirty="0">
              <a:sym typeface="+mn-lt"/>
            </a:endParaRPr>
          </a:p>
        </p:txBody>
      </p:sp>
      <p:cxnSp>
        <p:nvCxnSpPr>
          <p:cNvPr id="15" name="Straight Connector 14"/>
          <p:cNvCxnSpPr/>
          <p:nvPr>
            <p:custDataLst>
              <p:tags r:id="rId27"/>
            </p:custDataLst>
          </p:nvPr>
        </p:nvCxnSpPr>
        <p:spPr bwMode="gray">
          <a:xfrm>
            <a:off x="6626225" y="5267325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28"/>
            </p:custDataLst>
          </p:nvPr>
        </p:nvCxnSpPr>
        <p:spPr bwMode="gray">
          <a:xfrm>
            <a:off x="6626225" y="5005388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29"/>
            </p:custDataLst>
          </p:nvPr>
        </p:nvCxnSpPr>
        <p:spPr bwMode="gray">
          <a:xfrm>
            <a:off x="6626225" y="5910263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30"/>
            </p:custDataLst>
          </p:nvPr>
        </p:nvCxnSpPr>
        <p:spPr bwMode="gray">
          <a:xfrm>
            <a:off x="6626225" y="4741863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31"/>
            </p:custDataLst>
          </p:nvPr>
        </p:nvCxnSpPr>
        <p:spPr bwMode="gray">
          <a:xfrm>
            <a:off x="6626225" y="5530850"/>
            <a:ext cx="42863" cy="0"/>
          </a:xfrm>
          <a:prstGeom prst="line">
            <a:avLst/>
          </a:pr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1" name="Chart 160"/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31091311"/>
              </p:ext>
            </p:extLst>
          </p:nvPr>
        </p:nvGraphicFramePr>
        <p:xfrm>
          <a:off x="6403975" y="4659313"/>
          <a:ext cx="5221288" cy="1533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123" name="Text Placeholder 3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473825" y="5822950"/>
            <a:ext cx="66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ED02BC2-EBCB-470C-986E-1BAAC2E34F81}" type="datetime'0''''''''''''''''''''''''''''''''''''''''''''''''''''''''''''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l-GR" sz="1000" dirty="0">
              <a:sym typeface="+mn-lt"/>
            </a:endParaRPr>
          </a:p>
        </p:txBody>
      </p:sp>
      <p:sp>
        <p:nvSpPr>
          <p:cNvPr id="125" name="Text Placeholder 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407149" y="5443538"/>
            <a:ext cx="133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A2C2C43-4157-4B89-9855-E67684E9936A}" type="datetime'''''''''''''''''''''''4''''''0''''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l-GR" sz="1000" dirty="0">
              <a:sym typeface="+mn-lt"/>
            </a:endParaRPr>
          </a:p>
        </p:txBody>
      </p:sp>
      <p:sp>
        <p:nvSpPr>
          <p:cNvPr id="127" name="Text Placeholder 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407149" y="5180013"/>
            <a:ext cx="133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8308967-7B9A-47D9-9E99-E19FF88B8AFA}" type="datetime'''''''''''''''''''''''''''''''''''''''''''''''5''''''''0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l-GR" sz="1000" dirty="0">
              <a:sym typeface="+mn-lt"/>
            </a:endParaRPr>
          </a:p>
        </p:txBody>
      </p:sp>
      <p:sp>
        <p:nvSpPr>
          <p:cNvPr id="129" name="Text Placeholder 3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407149" y="4918075"/>
            <a:ext cx="133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AE36FD2-153B-4C75-909D-92985D50E023}" type="datetime'''''''''''6''''''0''''''''''''''''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el-GR" sz="1000" dirty="0">
              <a:sym typeface="+mn-lt"/>
            </a:endParaRPr>
          </a:p>
        </p:txBody>
      </p:sp>
      <p:sp>
        <p:nvSpPr>
          <p:cNvPr id="159" name="Text Placeholder 3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407150" y="4654551"/>
            <a:ext cx="1333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67985D3-98A7-4A75-9D54-78896981ACCD}" type="datetime'''''''''''''''''''''''''''7''''''''''''''''''''0'''">
              <a:rPr lang="el-GR" altLang="en-US" sz="1000" smtClean="0"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70</a:t>
            </a:fld>
            <a:endParaRPr lang="el-GR" sz="1000" dirty="0">
              <a:sym typeface="+mn-lt"/>
            </a:endParaRPr>
          </a:p>
        </p:txBody>
      </p:sp>
      <p:sp useBgFill="1">
        <p:nvSpPr>
          <p:cNvPr id="10" name="Freeform 9"/>
          <p:cNvSpPr/>
          <p:nvPr>
            <p:custDataLst>
              <p:tags r:id="rId38"/>
            </p:custDataLst>
          </p:nvPr>
        </p:nvSpPr>
        <p:spPr bwMode="auto">
          <a:xfrm>
            <a:off x="6596063" y="57975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1200" dirty="0" smtClean="0">
              <a:solidFill>
                <a:schemeClr val="bg1"/>
              </a:solidFill>
            </a:endParaRPr>
          </a:p>
        </p:txBody>
      </p:sp>
      <p:sp>
        <p:nvSpPr>
          <p:cNvPr id="8" name="Freeform 7"/>
          <p:cNvSpPr/>
          <p:nvPr>
            <p:custDataLst>
              <p:tags r:id="rId39"/>
            </p:custDataLst>
          </p:nvPr>
        </p:nvSpPr>
        <p:spPr bwMode="auto">
          <a:xfrm>
            <a:off x="6596063" y="57975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9" name="Freeform 8"/>
          <p:cNvSpPr/>
          <p:nvPr>
            <p:custDataLst>
              <p:tags r:id="rId40"/>
            </p:custDataLst>
          </p:nvPr>
        </p:nvSpPr>
        <p:spPr bwMode="auto">
          <a:xfrm>
            <a:off x="6596063" y="58547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rnd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0" name="Text Placeholder 3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630987" y="4467225"/>
            <a:ext cx="762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altLang="en-US" sz="1000" dirty="0" smtClean="0">
                <a:sym typeface="+mn-lt"/>
              </a:rPr>
              <a:t>%</a:t>
            </a:r>
            <a:endParaRPr lang="el-GR" sz="1000" dirty="0">
              <a:sym typeface="+mn-lt"/>
            </a:endParaRPr>
          </a:p>
        </p:txBody>
      </p:sp>
      <p:sp>
        <p:nvSpPr>
          <p:cNvPr id="135" name="Text Placeholder 3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931275" y="5018088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018C374-7AD9-40B3-AB75-5B5F7B246F9A}" type="datetime'''''''''''''''''''''''''5''''''''''''''''''''''''''0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l-GR" sz="1000" dirty="0">
              <a:sym typeface="+mn-lt"/>
            </a:endParaRPr>
          </a:p>
        </p:txBody>
      </p:sp>
      <p:sp>
        <p:nvSpPr>
          <p:cNvPr id="134" name="Text Placeholder 3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343900" y="4794250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FB9CC5D-B24F-4EE0-AF18-BFBA6C76E004}" type="datetime'''5''''''''''''''''''''''''''''''''8''''''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8</a:t>
            </a:fld>
            <a:endParaRPr lang="el-GR" sz="1000" dirty="0">
              <a:sym typeface="+mn-lt"/>
            </a:endParaRPr>
          </a:p>
        </p:txBody>
      </p:sp>
      <p:sp>
        <p:nvSpPr>
          <p:cNvPr id="144" name="Text Placeholder 3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0690225" y="5178425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8EBD69-2129-4780-9015-C1D79B7D4846}" type="datetime'''''4''''''''''''''''4''''''''''''''''''''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l-GR" sz="1000" dirty="0">
              <a:sym typeface="+mn-lt"/>
            </a:endParaRPr>
          </a:p>
        </p:txBody>
      </p:sp>
      <p:sp>
        <p:nvSpPr>
          <p:cNvPr id="132" name="Text Placeholder 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700838" y="4679950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1D023C-FB6B-4CFD-B0CF-1545A842A6A0}" type="datetime'''''''''6''3''''''''''''''''''''''''''''''''''''''''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3</a:t>
            </a:fld>
            <a:endParaRPr lang="el-GR" sz="1000" dirty="0">
              <a:sym typeface="+mn-lt"/>
            </a:endParaRPr>
          </a:p>
        </p:txBody>
      </p:sp>
      <p:sp>
        <p:nvSpPr>
          <p:cNvPr id="133" name="Text Placeholder 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758113" y="4918075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16D6D9F-7BEC-43BE-9133-F934CFB21EE9}" type="datetime'''''''5''''''''''''''''''''''''''''''''4''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lang="el-GR" sz="1000" dirty="0">
              <a:sym typeface="+mn-lt"/>
            </a:endParaRPr>
          </a:p>
        </p:txBody>
      </p:sp>
      <p:sp>
        <p:nvSpPr>
          <p:cNvPr id="142" name="Text Placeholder 3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517063" y="5183188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A62D0EA-093F-4571-A4FA-60C7CC00D723}" type="datetime'''''''''''''''''''''4''''''3''''''''''''''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lang="el-GR" sz="1000" dirty="0">
              <a:sym typeface="+mn-lt"/>
            </a:endParaRPr>
          </a:p>
        </p:txBody>
      </p:sp>
      <p:sp>
        <p:nvSpPr>
          <p:cNvPr id="143" name="Text Placeholder 3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0102850" y="5068888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A571462-24BD-49B7-B06C-C75C63F52CD0}" type="datetime'''''''''''''''''''''''4''8''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8</a:t>
            </a:fld>
            <a:endParaRPr lang="el-GR" sz="1000" dirty="0">
              <a:sym typeface="+mn-lt"/>
            </a:endParaRPr>
          </a:p>
        </p:txBody>
      </p:sp>
      <p:sp>
        <p:nvSpPr>
          <p:cNvPr id="145" name="Text Placeholder 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1276013" y="5522913"/>
            <a:ext cx="1682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4F00D2-FBA7-4C8F-9A46-30D3C55C6A27}" type="datetime'''3''''''''''''''''''''''''1'''''''''''''''''''''''">
              <a:rPr lang="el-GR" altLang="en-US" sz="10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l-GR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43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ED10195-7E95-408E-AA46-2033AA1281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114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590" name="think-cell Slide" r:id="rId33" imgW="473" imgH="473" progId="TCLayout.ActiveDocument.1">
                  <p:embed/>
                </p:oleObj>
              </mc:Choice>
              <mc:Fallback>
                <p:oleObj name="think-cell Slide" r:id="rId3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xmlns="" id="{4E544BAC-329A-4F82-BD46-9CDBABA543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FA5C3D88-29E0-4CC8-BF46-A54C51042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7235616" cy="997196"/>
          </a:xfrm>
        </p:spPr>
        <p:txBody>
          <a:bodyPr/>
          <a:lstStyle/>
          <a:p>
            <a:r>
              <a:rPr lang="el-GR" b="1" dirty="0"/>
              <a:t>Η απολιγνιτοποίηση επηρεάζει άμεσα τις τοπικές οικονομίες που βασίζονται στην ηλεκτροπαραγωγή</a:t>
            </a:r>
            <a:endParaRPr lang="en-US" b="1" dirty="0"/>
          </a:p>
        </p:txBody>
      </p:sp>
      <p:sp>
        <p:nvSpPr>
          <p:cNvPr id="5" name="ee4pContent1">
            <a:extLst>
              <a:ext uri="{FF2B5EF4-FFF2-40B4-BE49-F238E27FC236}">
                <a16:creationId xmlns:a16="http://schemas.microsoft.com/office/drawing/2014/main" xmlns="" id="{0D382728-2ACD-47ED-B844-F7B82622435B}"/>
              </a:ext>
            </a:extLst>
          </p:cNvPr>
          <p:cNvSpPr txBox="1"/>
          <p:nvPr/>
        </p:nvSpPr>
        <p:spPr>
          <a:xfrm>
            <a:off x="1956762" y="2492329"/>
            <a:ext cx="1603036" cy="1977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64646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64646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64646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A859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64646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64646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64646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A859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A859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l-GR" dirty="0"/>
              <a:t>Κοζάνη (2017 ΑΠΑ, %)</a:t>
            </a:r>
            <a:endParaRPr lang="en-US" dirty="0"/>
          </a:p>
        </p:txBody>
      </p:sp>
      <p:sp>
        <p:nvSpPr>
          <p:cNvPr id="8" name="ee4pHeader1">
            <a:extLst>
              <a:ext uri="{FF2B5EF4-FFF2-40B4-BE49-F238E27FC236}">
                <a16:creationId xmlns:a16="http://schemas.microsoft.com/office/drawing/2014/main" xmlns="" id="{529B563A-3346-442E-ADA2-67D384D96181}"/>
              </a:ext>
            </a:extLst>
          </p:cNvPr>
          <p:cNvSpPr txBox="1"/>
          <p:nvPr/>
        </p:nvSpPr>
        <p:spPr>
          <a:xfrm>
            <a:off x="629999" y="1620852"/>
            <a:ext cx="7084695" cy="65206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en-GB" sz="1600" dirty="0">
                <a:solidFill>
                  <a:srgbClr val="00A859">
                    <a:lumMod val="100000"/>
                  </a:srgbClr>
                </a:solidFill>
                <a:latin typeface="Trebuchet MS" panose="020B0603020202020204" pitchFamily="34" charset="0"/>
              </a:rPr>
              <a:t>H</a:t>
            </a:r>
            <a:r>
              <a:rPr lang="el-GR" sz="1600" dirty="0">
                <a:solidFill>
                  <a:srgbClr val="00A859">
                    <a:lumMod val="100000"/>
                  </a:srgbClr>
                </a:solidFill>
                <a:latin typeface="Trebuchet MS" panose="020B0603020202020204" pitchFamily="34" charset="0"/>
              </a:rPr>
              <a:t> δραστηριότητα των ορυχείων και της παραγωγής ρεύματος συμβάλλουν κατά 40-50% στην ΑΠΑ</a:t>
            </a:r>
            <a:r>
              <a:rPr lang="el-GR" sz="1600" baseline="30000" dirty="0">
                <a:solidFill>
                  <a:srgbClr val="00A859">
                    <a:lumMod val="100000"/>
                  </a:srgbClr>
                </a:solidFill>
                <a:latin typeface="Trebuchet MS" panose="020B0603020202020204" pitchFamily="34" charset="0"/>
              </a:rPr>
              <a:t>1</a:t>
            </a:r>
            <a:r>
              <a:rPr lang="el-GR" sz="1600" dirty="0">
                <a:solidFill>
                  <a:srgbClr val="00A859">
                    <a:lumMod val="100000"/>
                  </a:srgbClr>
                </a:solidFill>
                <a:latin typeface="Trebuchet MS" panose="020B0603020202020204" pitchFamily="34" charset="0"/>
              </a:rPr>
              <a:t> των επηρεαζόμενων περιοχών</a:t>
            </a:r>
            <a:endParaRPr lang="en-US" sz="1600" dirty="0">
              <a:solidFill>
                <a:srgbClr val="00A859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0ACD5AD8-72F3-4F6F-94D1-EC2BA88EB033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582863" y="4081463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D33AE83B-1550-481A-9EC6-1890F9AF9E53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363913" y="3224213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078AE28F-BC7E-4755-801E-42D822521B7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267075" y="3652838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47273DE-DE1F-43A0-A033-E991C085E6B9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2454275" y="4510088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8C36FC01-61A6-4ECE-8658-1EDF3B21A34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2355850" y="4938713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113BD04F-CF49-4EA8-A69D-BF00935E200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139950" y="5367338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368848"/>
              </p:ext>
            </p:extLst>
          </p:nvPr>
        </p:nvGraphicFramePr>
        <p:xfrm>
          <a:off x="1676400" y="2794000"/>
          <a:ext cx="2389188" cy="3165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22" name="Text Placeholder 3">
            <a:extLst>
              <a:ext uri="{FF2B5EF4-FFF2-40B4-BE49-F238E27FC236}">
                <a16:creationId xmlns:a16="http://schemas.microsoft.com/office/drawing/2014/main" xmlns="" id="{5BF8A70C-297A-4155-9DE4-331C3FE906A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5625" y="3744913"/>
            <a:ext cx="1379538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l-GR" altLang="en-US" dirty="0"/>
              <a:t>Ορυχεία, παραγωγή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l-GR" dirty="0">
                <a:sym typeface="+mn-lt"/>
              </a:rPr>
              <a:t>ρεύματος</a:t>
            </a:r>
            <a:endParaRPr lang="en-US" dirty="0">
              <a:sym typeface="+mn-lt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xmlns="" id="{21205D73-9E64-4FE6-967C-9726687AA94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41363" y="5132388"/>
            <a:ext cx="11938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F73AAD2-2021-4018-A418-59EE2E7F5252}" type="datetime'''Δημόσι''α'' ''''''''δ''ιο''ί''''''''''''''''κ''ησ''''η'''''">
              <a:rPr lang="el-GR" altLang="en-US" smtClean="0"/>
              <a:pPr algn="r">
                <a:spcBef>
                  <a:spcPct val="0"/>
                </a:spcBef>
                <a:spcAft>
                  <a:spcPct val="0"/>
                </a:spcAft>
              </a:pPr>
              <a:t>Δημόσια διοίκηση</a:t>
            </a:fld>
            <a:endParaRPr lang="en-US" dirty="0"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xmlns="" id="{9F5DDC14-BEC5-4D3D-B291-5C809C9D469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46213" y="2989263"/>
            <a:ext cx="4889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  <a:buNone/>
            </a:pPr>
            <a:r>
              <a:rPr lang="el-GR" dirty="0">
                <a:sym typeface="+mn-lt"/>
              </a:rPr>
              <a:t>Σύνολο</a:t>
            </a:r>
            <a:endParaRPr lang="en-US" dirty="0"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xmlns="" id="{1F385254-34D7-464A-822E-11DD8E345A5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50900" y="3417888"/>
            <a:ext cx="10842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l-GR" altLang="en-US" dirty="0"/>
              <a:t>Γεωργία, αλιεία</a:t>
            </a:r>
            <a:endParaRPr lang="en-US" dirty="0">
              <a:sym typeface="+mn-lt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xmlns="" id="{ADD13570-2B14-4B23-8CE8-DC9383E42E4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384300" y="4275138"/>
            <a:ext cx="5508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6914F66-B08E-4E45-8374-A5C69B0DD0D4}" type="datetime'''''Εμ''''''''''''''πό''''''ρ''''''''''''''''ι''''ο'''''''''">
              <a:rPr lang="el-GR" altLang="en-US" smtClean="0"/>
              <a:pPr algn="r">
                <a:spcBef>
                  <a:spcPct val="0"/>
                </a:spcBef>
                <a:spcAft>
                  <a:spcPct val="0"/>
                </a:spcAft>
              </a:pPr>
              <a:t>Εμπόριο</a:t>
            </a:fld>
            <a:endParaRPr lang="en-US" dirty="0">
              <a:sym typeface="+mn-lt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xmlns="" id="{BAC6EEEF-2380-451D-844E-BD26925A1FD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9438" y="4602163"/>
            <a:ext cx="135572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l-GR" altLang="en-US" dirty="0"/>
              <a:t>Διαχείριση ακίνητης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l-GR" dirty="0">
                <a:sym typeface="+mn-lt"/>
              </a:rPr>
              <a:t>περιουσίας</a:t>
            </a:r>
            <a:endParaRPr lang="en-US" dirty="0"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xmlns="" id="{7DD23267-6978-4814-8AC4-FB865729BB2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95363" y="5561013"/>
            <a:ext cx="9398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1E014A5-4586-4DB4-9717-B566D0B432B9}" type="datetime'''Λ''ο''''''''ιπ''''ο''ί'' ''''κ''''''λ''''''ά''δο''ι'''">
              <a:rPr lang="el-GR" altLang="en-US" smtClean="0"/>
              <a:pPr algn="r">
                <a:spcBef>
                  <a:spcPct val="0"/>
                </a:spcBef>
                <a:spcAft>
                  <a:spcPct val="0"/>
                </a:spcAft>
              </a:pPr>
              <a:t>Λοιποί κλάδοι</a:t>
            </a:fld>
            <a:endParaRPr lang="en-US" dirty="0">
              <a:sym typeface="+mn-lt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xmlns="" id="{05D866DD-EFE1-4C85-92C3-162F292C97D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5418138" y="3211513"/>
            <a:ext cx="0" cy="161925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xmlns="" id="{4B92F789-AB22-4C02-9B53-8876985BB7A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253038" y="3643313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9F4F131A-5F84-464B-88ED-7401EC718B9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4672013" y="4073525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xmlns="" id="{077746B9-6142-45F4-9ECA-DDB74A8A3CBD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4446588" y="4933950"/>
            <a:ext cx="0" cy="161925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9D6A09D5-E7E2-434B-849D-0CC606DA85BA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4545013" y="4503738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xmlns="" id="{A904FD84-F27D-4D31-A603-8629BD60AA2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4184650" y="5365750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Chart 3"/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787021658"/>
              </p:ext>
            </p:extLst>
          </p:nvPr>
        </p:nvGraphicFramePr>
        <p:xfrm>
          <a:off x="3665538" y="2779713"/>
          <a:ext cx="2389187" cy="3179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86" name="ee4pContent1">
            <a:extLst>
              <a:ext uri="{FF2B5EF4-FFF2-40B4-BE49-F238E27FC236}">
                <a16:creationId xmlns:a16="http://schemas.microsoft.com/office/drawing/2014/main" xmlns="" id="{FB0C2DE4-7958-4D41-92FC-F0DC061D9A9E}"/>
              </a:ext>
            </a:extLst>
          </p:cNvPr>
          <p:cNvSpPr txBox="1"/>
          <p:nvPr/>
        </p:nvSpPr>
        <p:spPr>
          <a:xfrm>
            <a:off x="3913346" y="2492329"/>
            <a:ext cx="1603058" cy="1977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64646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64646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64646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A859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64646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64646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64646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A859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A859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l-GR" dirty="0"/>
              <a:t>Φλώρινα (ΑΠΑ 2017, %)</a:t>
            </a:r>
            <a:endParaRPr lang="en-US" dirty="0"/>
          </a:p>
        </p:txBody>
      </p:sp>
      <p:sp>
        <p:nvSpPr>
          <p:cNvPr id="87" name="ee4pContent1">
            <a:extLst>
              <a:ext uri="{FF2B5EF4-FFF2-40B4-BE49-F238E27FC236}">
                <a16:creationId xmlns:a16="http://schemas.microsoft.com/office/drawing/2014/main" xmlns="" id="{F4F531EF-0364-4531-AC74-AE1C805BAEBF}"/>
              </a:ext>
            </a:extLst>
          </p:cNvPr>
          <p:cNvSpPr txBox="1"/>
          <p:nvPr/>
        </p:nvSpPr>
        <p:spPr>
          <a:xfrm>
            <a:off x="5910421" y="2492329"/>
            <a:ext cx="1603058" cy="19777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646464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64646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64646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A859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64646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64646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64646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A859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A859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l-GR" dirty="0"/>
              <a:t>Αρκαδία (2017 ΑΠΑ, %)</a:t>
            </a:r>
            <a:endParaRPr lang="en-US" dirty="0"/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xmlns="" id="{68B6D592-CED8-4670-9990-7FEF4D55842B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7440613" y="3211513"/>
            <a:ext cx="0" cy="161925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xmlns="" id="{6F9F69F9-0A39-40FE-8A37-667F35EAB3F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7350125" y="3643313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xmlns="" id="{EB3A3AEC-19D0-4920-9112-027AB2F7534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6602413" y="4503738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xmlns="" id="{DFE504E9-C7B9-4383-962C-951E1BB8B47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6813550" y="4073525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xmlns="" id="{B4E3E081-2E10-4DA6-A21B-5AF836EA4F10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6162675" y="5365750"/>
            <a:ext cx="0" cy="160338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xmlns="" id="{DAFD973E-6466-4E55-8536-1E7B601816A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6400800" y="4933950"/>
            <a:ext cx="0" cy="161925"/>
          </a:xfrm>
          <a:prstGeom prst="line">
            <a:avLst/>
          </a:prstGeom>
          <a:ln w="3175" cap="rnd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Chart 3"/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272545230"/>
              </p:ext>
            </p:extLst>
          </p:nvPr>
        </p:nvGraphicFramePr>
        <p:xfrm>
          <a:off x="5688013" y="2779713"/>
          <a:ext cx="2389187" cy="3179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14" name="ee4pFootnotes">
            <a:extLst>
              <a:ext uri="{FF2B5EF4-FFF2-40B4-BE49-F238E27FC236}">
                <a16:creationId xmlns:a16="http://schemas.microsoft.com/office/drawing/2014/main" xmlns="" id="{F2A14FAF-0FD0-4DDA-8D46-F83B49069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005942"/>
            <a:ext cx="6168235" cy="5539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l-GR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1. Ακαθάριστη Προστιθέμενη Αξία</a:t>
            </a:r>
          </a:p>
          <a:p>
            <a:pPr>
              <a:lnSpc>
                <a:spcPct val="90000"/>
              </a:lnSpc>
            </a:pPr>
            <a:r>
              <a:rPr lang="el-GR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Σημείωση: Οι λοιποί κλάδοι περιλαμβάνουν: Ενημέρωση και επικοινωνία, χρηματοπιστωτικές και ασφαλιστικές δραστηριότητες, λοιπές δραστηριότητες παροχής υπηρεσιών και τέχνες και ψυχαγωγία</a:t>
            </a:r>
            <a:br>
              <a:rPr lang="el-GR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</a:br>
            <a:r>
              <a:rPr lang="el-GR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Πηγή: </a:t>
            </a:r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Eurostat, </a:t>
            </a:r>
            <a:r>
              <a:rPr lang="el-GR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ΕΛΣΤΑΤ, ΚΕΠΕ, Ανάλυση </a:t>
            </a:r>
            <a:r>
              <a:rPr lang="en-US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BCG-GT</a:t>
            </a:r>
          </a:p>
        </p:txBody>
      </p:sp>
    </p:spTree>
    <p:extLst>
      <p:ext uri="{BB962C8B-B14F-4D97-AF65-F5344CB8AC3E}">
        <p14:creationId xmlns:p14="http://schemas.microsoft.com/office/powerpoint/2010/main" val="317910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91ADEA6D-5F5E-4E24-B25C-65D111B261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997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4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28C7634-4A9E-4534-8772-E04A646410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240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3F8B195-FCE5-4853-9B8E-7294DCBF9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64797"/>
          </a:xfrm>
        </p:spPr>
        <p:txBody>
          <a:bodyPr/>
          <a:lstStyle/>
          <a:p>
            <a:r>
              <a:rPr lang="el-GR" b="1" dirty="0"/>
              <a:t>Οι τοπικοί παραγωγικοί κλάδοι, λόγο της μονοκαλλιέργειας του λιγνίτη έχουν </a:t>
            </a:r>
            <a:r>
              <a:rPr lang="el-GR" b="1" dirty="0" smtClean="0"/>
              <a:t>ατονήσει</a:t>
            </a:r>
            <a:endParaRPr lang="en-US" b="1" dirty="0"/>
          </a:p>
        </p:txBody>
      </p:sp>
      <p:sp>
        <p:nvSpPr>
          <p:cNvPr id="5" name="ee4pFootnotes">
            <a:extLst>
              <a:ext uri="{FF2B5EF4-FFF2-40B4-BE49-F238E27FC236}">
                <a16:creationId xmlns:a16="http://schemas.microsoft.com/office/drawing/2014/main" xmlns="" id="{A7490F0D-2698-4DA8-8A9E-D2F6E64FB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50" y="6421441"/>
            <a:ext cx="10927408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Ανάλυση Ομάδας ΣΔΑΜ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5C4E9E3B-DB6B-43F4-A96D-193B13710B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864243"/>
              </p:ext>
            </p:extLst>
          </p:nvPr>
        </p:nvGraphicFramePr>
        <p:xfrm>
          <a:off x="594321" y="1623849"/>
          <a:ext cx="10726884" cy="46252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74994">
                  <a:extLst>
                    <a:ext uri="{9D8B030D-6E8A-4147-A177-3AD203B41FA5}">
                      <a16:colId xmlns:a16="http://schemas.microsoft.com/office/drawing/2014/main" xmlns="" val="2905982800"/>
                    </a:ext>
                  </a:extLst>
                </a:gridCol>
                <a:gridCol w="1175315">
                  <a:extLst>
                    <a:ext uri="{9D8B030D-6E8A-4147-A177-3AD203B41FA5}">
                      <a16:colId xmlns:a16="http://schemas.microsoft.com/office/drawing/2014/main" xmlns="" val="2085279844"/>
                    </a:ext>
                  </a:extLst>
                </a:gridCol>
                <a:gridCol w="1175315">
                  <a:extLst>
                    <a:ext uri="{9D8B030D-6E8A-4147-A177-3AD203B41FA5}">
                      <a16:colId xmlns:a16="http://schemas.microsoft.com/office/drawing/2014/main" xmlns="" val="63769912"/>
                    </a:ext>
                  </a:extLst>
                </a:gridCol>
                <a:gridCol w="1175315">
                  <a:extLst>
                    <a:ext uri="{9D8B030D-6E8A-4147-A177-3AD203B41FA5}">
                      <a16:colId xmlns:a16="http://schemas.microsoft.com/office/drawing/2014/main" xmlns="" val="277044144"/>
                    </a:ext>
                  </a:extLst>
                </a:gridCol>
                <a:gridCol w="1175315">
                  <a:extLst>
                    <a:ext uri="{9D8B030D-6E8A-4147-A177-3AD203B41FA5}">
                      <a16:colId xmlns:a16="http://schemas.microsoft.com/office/drawing/2014/main" xmlns="" val="85190190"/>
                    </a:ext>
                  </a:extLst>
                </a:gridCol>
                <a:gridCol w="1175315">
                  <a:extLst>
                    <a:ext uri="{9D8B030D-6E8A-4147-A177-3AD203B41FA5}">
                      <a16:colId xmlns:a16="http://schemas.microsoft.com/office/drawing/2014/main" xmlns="" val="3631156702"/>
                    </a:ext>
                  </a:extLst>
                </a:gridCol>
                <a:gridCol w="1175315">
                  <a:extLst>
                    <a:ext uri="{9D8B030D-6E8A-4147-A177-3AD203B41FA5}">
                      <a16:colId xmlns:a16="http://schemas.microsoft.com/office/drawing/2014/main" xmlns="" val="835358671"/>
                    </a:ext>
                  </a:extLst>
                </a:gridCol>
              </a:tblGrid>
              <a:tr h="572138">
                <a:tc>
                  <a:txBody>
                    <a:bodyPr/>
                    <a:lstStyle/>
                    <a:p>
                      <a:endParaRPr lang="el-GR" sz="17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13579" marR="113579" marT="0" marB="0" anchor="b"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ΠΕ Κοζάνη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51438" marR="151438" marT="75719" marB="75719" anchor="b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ΠΕ Φλώρινα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51438" marR="151438" marT="75719" marB="75719" anchor="b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ΠΕ Αρκαδία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51438" marR="151438" marT="75719" marB="75719" anchor="b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32535659"/>
                  </a:ext>
                </a:extLst>
              </a:tr>
              <a:tr h="4239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 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€Μ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€Μ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€Μ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445055781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Σύνολο ΑΠΑ κλάδων ΠΕ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1.984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100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777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100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1.231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100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2295020405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rgbClr val="D4DF33"/>
                          </a:solidFill>
                          <a:effectLst/>
                        </a:rPr>
                        <a:t>Ενέργεια &amp; εξόρυξη</a:t>
                      </a:r>
                      <a:endParaRPr lang="el-GR" sz="1800" dirty="0">
                        <a:solidFill>
                          <a:srgbClr val="D4DF33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b="1" dirty="0" smtClean="0">
                          <a:solidFill>
                            <a:srgbClr val="0070C0"/>
                          </a:solidFill>
                          <a:effectLst/>
                        </a:rPr>
                        <a:t>1.021</a:t>
                      </a:r>
                      <a:endParaRPr lang="el-GR" sz="1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b="1" dirty="0">
                          <a:solidFill>
                            <a:srgbClr val="0070C0"/>
                          </a:solidFill>
                          <a:effectLst/>
                        </a:rPr>
                        <a:t>51.5%</a:t>
                      </a:r>
                      <a:endParaRPr lang="el-GR" sz="1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b="1" dirty="0" smtClean="0">
                          <a:solidFill>
                            <a:srgbClr val="0070C0"/>
                          </a:solidFill>
                          <a:effectLst/>
                        </a:rPr>
                        <a:t>  310</a:t>
                      </a:r>
                      <a:endParaRPr lang="el-GR" sz="1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b="1" dirty="0">
                          <a:solidFill>
                            <a:srgbClr val="0070C0"/>
                          </a:solidFill>
                          <a:effectLst/>
                        </a:rPr>
                        <a:t>39.9%</a:t>
                      </a:r>
                      <a:endParaRPr lang="el-GR" sz="1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b="1" dirty="0" smtClean="0">
                          <a:solidFill>
                            <a:srgbClr val="0070C0"/>
                          </a:solidFill>
                          <a:effectLst/>
                        </a:rPr>
                        <a:t>   453</a:t>
                      </a:r>
                      <a:endParaRPr lang="el-GR" sz="1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b="1" dirty="0">
                          <a:solidFill>
                            <a:srgbClr val="0070C0"/>
                          </a:solidFill>
                          <a:effectLst/>
                        </a:rPr>
                        <a:t>36.8%</a:t>
                      </a:r>
                      <a:endParaRPr lang="el-GR" sz="18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3576802033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Επαγγελματικές υπηρεσίε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221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11.1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78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10.0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 212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17.2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2577195895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Δημόσιος τομέα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322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16.2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139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17.9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201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16.3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3843513588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Εμπόριο, εστίαση &amp; μεταφορέ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195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9.8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68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8.8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179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14.5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3942182510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Αγροτική παραγωγή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146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7.4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88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11.3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76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6.2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3206012536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Τέχνες και ψυχαγωγία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  65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3.3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29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3.7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70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5.7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3667668397"/>
                  </a:ext>
                </a:extLst>
              </a:tr>
              <a:tr h="4536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Κατασκευές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 14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0.7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65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>
                          <a:effectLst/>
                        </a:rPr>
                        <a:t>8.4%</a:t>
                      </a:r>
                      <a:endParaRPr lang="el-GR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 smtClean="0">
                          <a:effectLst/>
                        </a:rPr>
                        <a:t>   40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l-GR" sz="1800" dirty="0">
                          <a:effectLst/>
                        </a:rPr>
                        <a:t>3.2%</a:t>
                      </a:r>
                      <a:endParaRPr lang="el-GR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13579" marR="113579" marT="0" marB="0" anchor="b"/>
                </a:tc>
                <a:extLst>
                  <a:ext uri="{0D108BD9-81ED-4DB2-BD59-A6C34878D82A}">
                    <a16:rowId xmlns:a16="http://schemas.microsoft.com/office/drawing/2014/main" xmlns="" val="2723928238"/>
                  </a:ext>
                </a:extLst>
              </a:tr>
            </a:tbl>
          </a:graphicData>
        </a:graphic>
      </p:graphicFrame>
      <p:sp>
        <p:nvSpPr>
          <p:cNvPr id="7" name="NavigationTriangle">
            <a:extLst>
              <a:ext uri="{FF2B5EF4-FFF2-40B4-BE49-F238E27FC236}">
                <a16:creationId xmlns:a16="http://schemas.microsoft.com/office/drawing/2014/main" xmlns="" id="{430544C7-DC8D-4FB5-A087-B9FDC455D6CC}"/>
              </a:ext>
            </a:extLst>
          </p:cNvPr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8" name="NavigationText">
            <a:extLst>
              <a:ext uri="{FF2B5EF4-FFF2-40B4-BE49-F238E27FC236}">
                <a16:creationId xmlns:a16="http://schemas.microsoft.com/office/drawing/2014/main" xmlns="" id="{3638C3D3-AB9A-4AC5-8E59-6FDBA5A4B7DA}"/>
              </a:ext>
            </a:extLst>
          </p:cNvPr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l-GR" sz="100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Ανασκόπηση</a:t>
            </a:r>
            <a:endParaRPr lang="en-US" sz="100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NavigationIcon">
            <a:extLst>
              <a:ext uri="{FF2B5EF4-FFF2-40B4-BE49-F238E27FC236}">
                <a16:creationId xmlns:a16="http://schemas.microsoft.com/office/drawing/2014/main" xmlns="" id="{6C50D457-3BA2-47F3-8BD7-65B26D8F8C42}"/>
              </a:ext>
            </a:extLst>
          </p:cNvPr>
          <p:cNvSpPr>
            <a:spLocks noChangeAspect="1"/>
          </p:cNvSpPr>
          <p:nvPr/>
        </p:nvSpPr>
        <p:spPr bwMode="auto">
          <a:xfrm>
            <a:off x="11644824" y="157927"/>
            <a:ext cx="457200" cy="315659"/>
          </a:xfrm>
          <a:custGeom>
            <a:avLst/>
            <a:gdLst>
              <a:gd name="connsiteX0" fmla="*/ 884370 w 1292225"/>
              <a:gd name="connsiteY0" fmla="*/ 474662 h 892175"/>
              <a:gd name="connsiteX1" fmla="*/ 858573 w 1292225"/>
              <a:gd name="connsiteY1" fmla="*/ 481734 h 892175"/>
              <a:gd name="connsiteX2" fmla="*/ 841375 w 1292225"/>
              <a:gd name="connsiteY2" fmla="*/ 500120 h 892175"/>
              <a:gd name="connsiteX3" fmla="*/ 860006 w 1292225"/>
              <a:gd name="connsiteY3" fmla="*/ 514263 h 892175"/>
              <a:gd name="connsiteX4" fmla="*/ 885803 w 1292225"/>
              <a:gd name="connsiteY4" fmla="*/ 497291 h 892175"/>
              <a:gd name="connsiteX5" fmla="*/ 906584 w 1292225"/>
              <a:gd name="connsiteY5" fmla="*/ 514970 h 892175"/>
              <a:gd name="connsiteX6" fmla="*/ 892253 w 1292225"/>
              <a:gd name="connsiteY6" fmla="*/ 551035 h 892175"/>
              <a:gd name="connsiteX7" fmla="*/ 842808 w 1292225"/>
              <a:gd name="connsiteY7" fmla="*/ 622458 h 892175"/>
              <a:gd name="connsiteX8" fmla="*/ 842808 w 1292225"/>
              <a:gd name="connsiteY8" fmla="*/ 630237 h 892175"/>
              <a:gd name="connsiteX9" fmla="*/ 944563 w 1292225"/>
              <a:gd name="connsiteY9" fmla="*/ 630237 h 892175"/>
              <a:gd name="connsiteX10" fmla="*/ 944563 w 1292225"/>
              <a:gd name="connsiteY10" fmla="*/ 606194 h 892175"/>
              <a:gd name="connsiteX11" fmla="*/ 886520 w 1292225"/>
              <a:gd name="connsiteY11" fmla="*/ 606194 h 892175"/>
              <a:gd name="connsiteX12" fmla="*/ 918050 w 1292225"/>
              <a:gd name="connsiteY12" fmla="*/ 558107 h 892175"/>
              <a:gd name="connsiteX13" fmla="*/ 935248 w 1292225"/>
              <a:gd name="connsiteY13" fmla="*/ 514970 h 892175"/>
              <a:gd name="connsiteX14" fmla="*/ 922349 w 1292225"/>
              <a:gd name="connsiteY14" fmla="*/ 485270 h 892175"/>
              <a:gd name="connsiteX15" fmla="*/ 884370 w 1292225"/>
              <a:gd name="connsiteY15" fmla="*/ 474662 h 892175"/>
              <a:gd name="connsiteX16" fmla="*/ 693542 w 1292225"/>
              <a:gd name="connsiteY16" fmla="*/ 357187 h 892175"/>
              <a:gd name="connsiteX17" fmla="*/ 762000 w 1292225"/>
              <a:gd name="connsiteY17" fmla="*/ 450653 h 892175"/>
              <a:gd name="connsiteX18" fmla="*/ 743460 w 1292225"/>
              <a:gd name="connsiteY18" fmla="*/ 522715 h 892175"/>
              <a:gd name="connsiteX19" fmla="*/ 689977 w 1292225"/>
              <a:gd name="connsiteY19" fmla="*/ 547687 h 892175"/>
              <a:gd name="connsiteX20" fmla="*/ 644338 w 1292225"/>
              <a:gd name="connsiteY20" fmla="*/ 522715 h 892175"/>
              <a:gd name="connsiteX21" fmla="*/ 628650 w 1292225"/>
              <a:gd name="connsiteY21" fmla="*/ 450653 h 892175"/>
              <a:gd name="connsiteX22" fmla="*/ 645052 w 1292225"/>
              <a:gd name="connsiteY22" fmla="*/ 382159 h 892175"/>
              <a:gd name="connsiteX23" fmla="*/ 693542 w 1292225"/>
              <a:gd name="connsiteY23" fmla="*/ 357187 h 892175"/>
              <a:gd name="connsiteX24" fmla="*/ 693542 w 1292225"/>
              <a:gd name="connsiteY24" fmla="*/ 314325 h 892175"/>
              <a:gd name="connsiteX25" fmla="*/ 610103 w 1292225"/>
              <a:gd name="connsiteY25" fmla="*/ 353559 h 892175"/>
              <a:gd name="connsiteX26" fmla="*/ 579437 w 1292225"/>
              <a:gd name="connsiteY26" fmla="*/ 449861 h 892175"/>
              <a:gd name="connsiteX27" fmla="*/ 607963 w 1292225"/>
              <a:gd name="connsiteY27" fmla="*/ 551869 h 892175"/>
              <a:gd name="connsiteX28" fmla="*/ 689976 w 1292225"/>
              <a:gd name="connsiteY28" fmla="*/ 588963 h 892175"/>
              <a:gd name="connsiteX29" fmla="*/ 779833 w 1292225"/>
              <a:gd name="connsiteY29" fmla="*/ 551156 h 892175"/>
              <a:gd name="connsiteX30" fmla="*/ 811212 w 1292225"/>
              <a:gd name="connsiteY30" fmla="*/ 449861 h 892175"/>
              <a:gd name="connsiteX31" fmla="*/ 780547 w 1292225"/>
              <a:gd name="connsiteY31" fmla="*/ 349992 h 892175"/>
              <a:gd name="connsiteX32" fmla="*/ 693542 w 1292225"/>
              <a:gd name="connsiteY32" fmla="*/ 314325 h 892175"/>
              <a:gd name="connsiteX33" fmla="*/ 474248 w 1292225"/>
              <a:gd name="connsiteY33" fmla="*/ 314325 h 892175"/>
              <a:gd name="connsiteX34" fmla="*/ 386621 w 1292225"/>
              <a:gd name="connsiteY34" fmla="*/ 354272 h 892175"/>
              <a:gd name="connsiteX35" fmla="*/ 352425 w 1292225"/>
              <a:gd name="connsiteY35" fmla="*/ 452714 h 892175"/>
              <a:gd name="connsiteX36" fmla="*/ 383771 w 1292225"/>
              <a:gd name="connsiteY36" fmla="*/ 552583 h 892175"/>
              <a:gd name="connsiteX37" fmla="*/ 469973 w 1292225"/>
              <a:gd name="connsiteY37" fmla="*/ 588963 h 892175"/>
              <a:gd name="connsiteX38" fmla="*/ 554038 w 1292225"/>
              <a:gd name="connsiteY38" fmla="*/ 558289 h 892175"/>
              <a:gd name="connsiteX39" fmla="*/ 531953 w 1292225"/>
              <a:gd name="connsiteY39" fmla="*/ 520482 h 892175"/>
              <a:gd name="connsiteX40" fmla="*/ 473536 w 1292225"/>
              <a:gd name="connsiteY40" fmla="*/ 546876 h 892175"/>
              <a:gd name="connsiteX41" fmla="*/ 421529 w 1292225"/>
              <a:gd name="connsiteY41" fmla="*/ 521909 h 892175"/>
              <a:gd name="connsiteX42" fmla="*/ 401582 w 1292225"/>
              <a:gd name="connsiteY42" fmla="*/ 454854 h 892175"/>
              <a:gd name="connsiteX43" fmla="*/ 422954 w 1292225"/>
              <a:gd name="connsiteY43" fmla="*/ 384233 h 892175"/>
              <a:gd name="connsiteX44" fmla="*/ 477098 w 1292225"/>
              <a:gd name="connsiteY44" fmla="*/ 356413 h 892175"/>
              <a:gd name="connsiteX45" fmla="*/ 527679 w 1292225"/>
              <a:gd name="connsiteY45" fmla="*/ 372106 h 892175"/>
              <a:gd name="connsiteX46" fmla="*/ 546914 w 1292225"/>
              <a:gd name="connsiteY46" fmla="*/ 333585 h 892175"/>
              <a:gd name="connsiteX47" fmla="*/ 474248 w 1292225"/>
              <a:gd name="connsiteY47" fmla="*/ 314325 h 892175"/>
              <a:gd name="connsiteX48" fmla="*/ 479651 w 1292225"/>
              <a:gd name="connsiteY48" fmla="*/ 61912 h 892175"/>
              <a:gd name="connsiteX49" fmla="*/ 678167 w 1292225"/>
              <a:gd name="connsiteY49" fmla="*/ 165952 h 892175"/>
              <a:gd name="connsiteX50" fmla="*/ 771712 w 1292225"/>
              <a:gd name="connsiteY50" fmla="*/ 138873 h 892175"/>
              <a:gd name="connsiteX51" fmla="*/ 945948 w 1292225"/>
              <a:gd name="connsiteY51" fmla="*/ 310611 h 892175"/>
              <a:gd name="connsiteX52" fmla="*/ 947376 w 1292225"/>
              <a:gd name="connsiteY52" fmla="*/ 310611 h 892175"/>
              <a:gd name="connsiteX53" fmla="*/ 953089 w 1292225"/>
              <a:gd name="connsiteY53" fmla="*/ 310611 h 892175"/>
              <a:gd name="connsiteX54" fmla="*/ 1088765 w 1292225"/>
              <a:gd name="connsiteY54" fmla="*/ 398262 h 892175"/>
              <a:gd name="connsiteX55" fmla="*/ 1130896 w 1292225"/>
              <a:gd name="connsiteY55" fmla="*/ 411801 h 892175"/>
              <a:gd name="connsiteX56" fmla="*/ 1131610 w 1292225"/>
              <a:gd name="connsiteY56" fmla="*/ 411801 h 892175"/>
              <a:gd name="connsiteX57" fmla="*/ 1143035 w 1292225"/>
              <a:gd name="connsiteY57" fmla="*/ 418215 h 892175"/>
              <a:gd name="connsiteX58" fmla="*/ 1145177 w 1292225"/>
              <a:gd name="connsiteY58" fmla="*/ 419640 h 892175"/>
              <a:gd name="connsiteX59" fmla="*/ 1158745 w 1292225"/>
              <a:gd name="connsiteY59" fmla="*/ 428191 h 892175"/>
              <a:gd name="connsiteX60" fmla="*/ 1169456 w 1292225"/>
              <a:gd name="connsiteY60" fmla="*/ 436742 h 892175"/>
              <a:gd name="connsiteX61" fmla="*/ 1175883 w 1292225"/>
              <a:gd name="connsiteY61" fmla="*/ 443156 h 892175"/>
              <a:gd name="connsiteX62" fmla="*/ 1192307 w 1292225"/>
              <a:gd name="connsiteY62" fmla="*/ 460258 h 892175"/>
              <a:gd name="connsiteX63" fmla="*/ 1207303 w 1292225"/>
              <a:gd name="connsiteY63" fmla="*/ 483062 h 892175"/>
              <a:gd name="connsiteX64" fmla="*/ 1224441 w 1292225"/>
              <a:gd name="connsiteY64" fmla="*/ 527956 h 892175"/>
              <a:gd name="connsiteX65" fmla="*/ 1228725 w 1292225"/>
              <a:gd name="connsiteY65" fmla="*/ 565724 h 892175"/>
              <a:gd name="connsiteX66" fmla="*/ 1228725 w 1292225"/>
              <a:gd name="connsiteY66" fmla="*/ 574275 h 892175"/>
              <a:gd name="connsiteX67" fmla="*/ 1225155 w 1292225"/>
              <a:gd name="connsiteY67" fmla="*/ 599929 h 892175"/>
              <a:gd name="connsiteX68" fmla="*/ 1223013 w 1292225"/>
              <a:gd name="connsiteY68" fmla="*/ 608480 h 892175"/>
              <a:gd name="connsiteX69" fmla="*/ 1055917 w 1292225"/>
              <a:gd name="connsiteY69" fmla="*/ 736037 h 892175"/>
              <a:gd name="connsiteX70" fmla="*/ 1023783 w 1292225"/>
              <a:gd name="connsiteY70" fmla="*/ 736037 h 892175"/>
              <a:gd name="connsiteX71" fmla="*/ 1023069 w 1292225"/>
              <a:gd name="connsiteY71" fmla="*/ 736749 h 892175"/>
              <a:gd name="connsiteX72" fmla="*/ 1018070 w 1292225"/>
              <a:gd name="connsiteY72" fmla="*/ 741025 h 892175"/>
              <a:gd name="connsiteX73" fmla="*/ 1015928 w 1292225"/>
              <a:gd name="connsiteY73" fmla="*/ 743163 h 892175"/>
              <a:gd name="connsiteX74" fmla="*/ 1012358 w 1292225"/>
              <a:gd name="connsiteY74" fmla="*/ 746013 h 892175"/>
              <a:gd name="connsiteX75" fmla="*/ 1009501 w 1292225"/>
              <a:gd name="connsiteY75" fmla="*/ 747438 h 892175"/>
              <a:gd name="connsiteX76" fmla="*/ 1005931 w 1292225"/>
              <a:gd name="connsiteY76" fmla="*/ 750289 h 892175"/>
              <a:gd name="connsiteX77" fmla="*/ 1003075 w 1292225"/>
              <a:gd name="connsiteY77" fmla="*/ 752426 h 892175"/>
              <a:gd name="connsiteX78" fmla="*/ 999504 w 1292225"/>
              <a:gd name="connsiteY78" fmla="*/ 754564 h 892175"/>
              <a:gd name="connsiteX79" fmla="*/ 996648 w 1292225"/>
              <a:gd name="connsiteY79" fmla="*/ 755989 h 892175"/>
              <a:gd name="connsiteX80" fmla="*/ 993078 w 1292225"/>
              <a:gd name="connsiteY80" fmla="*/ 758127 h 892175"/>
              <a:gd name="connsiteX81" fmla="*/ 990221 w 1292225"/>
              <a:gd name="connsiteY81" fmla="*/ 759552 h 892175"/>
              <a:gd name="connsiteX82" fmla="*/ 985937 w 1292225"/>
              <a:gd name="connsiteY82" fmla="*/ 761690 h 892175"/>
              <a:gd name="connsiteX83" fmla="*/ 983080 w 1292225"/>
              <a:gd name="connsiteY83" fmla="*/ 763115 h 892175"/>
              <a:gd name="connsiteX84" fmla="*/ 979510 w 1292225"/>
              <a:gd name="connsiteY84" fmla="*/ 765253 h 892175"/>
              <a:gd name="connsiteX85" fmla="*/ 975940 w 1292225"/>
              <a:gd name="connsiteY85" fmla="*/ 766679 h 892175"/>
              <a:gd name="connsiteX86" fmla="*/ 972369 w 1292225"/>
              <a:gd name="connsiteY86" fmla="*/ 768104 h 892175"/>
              <a:gd name="connsiteX87" fmla="*/ 968799 w 1292225"/>
              <a:gd name="connsiteY87" fmla="*/ 768816 h 892175"/>
              <a:gd name="connsiteX88" fmla="*/ 964514 w 1292225"/>
              <a:gd name="connsiteY88" fmla="*/ 770242 h 892175"/>
              <a:gd name="connsiteX89" fmla="*/ 961658 w 1292225"/>
              <a:gd name="connsiteY89" fmla="*/ 771667 h 892175"/>
              <a:gd name="connsiteX90" fmla="*/ 958087 w 1292225"/>
              <a:gd name="connsiteY90" fmla="*/ 772379 h 892175"/>
              <a:gd name="connsiteX91" fmla="*/ 954517 w 1292225"/>
              <a:gd name="connsiteY91" fmla="*/ 773805 h 892175"/>
              <a:gd name="connsiteX92" fmla="*/ 950233 w 1292225"/>
              <a:gd name="connsiteY92" fmla="*/ 774517 h 892175"/>
              <a:gd name="connsiteX93" fmla="*/ 947376 w 1292225"/>
              <a:gd name="connsiteY93" fmla="*/ 775230 h 892175"/>
              <a:gd name="connsiteX94" fmla="*/ 942378 w 1292225"/>
              <a:gd name="connsiteY94" fmla="*/ 775942 h 892175"/>
              <a:gd name="connsiteX95" fmla="*/ 939521 w 1292225"/>
              <a:gd name="connsiteY95" fmla="*/ 776655 h 892175"/>
              <a:gd name="connsiteX96" fmla="*/ 934523 w 1292225"/>
              <a:gd name="connsiteY96" fmla="*/ 777368 h 892175"/>
              <a:gd name="connsiteX97" fmla="*/ 931666 w 1292225"/>
              <a:gd name="connsiteY97" fmla="*/ 777368 h 892175"/>
              <a:gd name="connsiteX98" fmla="*/ 925954 w 1292225"/>
              <a:gd name="connsiteY98" fmla="*/ 778080 h 892175"/>
              <a:gd name="connsiteX99" fmla="*/ 923097 w 1292225"/>
              <a:gd name="connsiteY99" fmla="*/ 778080 h 892175"/>
              <a:gd name="connsiteX100" fmla="*/ 915956 w 1292225"/>
              <a:gd name="connsiteY100" fmla="*/ 778080 h 892175"/>
              <a:gd name="connsiteX101" fmla="*/ 915242 w 1292225"/>
              <a:gd name="connsiteY101" fmla="*/ 778080 h 892175"/>
              <a:gd name="connsiteX102" fmla="*/ 908102 w 1292225"/>
              <a:gd name="connsiteY102" fmla="*/ 778080 h 892175"/>
              <a:gd name="connsiteX103" fmla="*/ 905245 w 1292225"/>
              <a:gd name="connsiteY103" fmla="*/ 778080 h 892175"/>
              <a:gd name="connsiteX104" fmla="*/ 900247 w 1292225"/>
              <a:gd name="connsiteY104" fmla="*/ 777368 h 892175"/>
              <a:gd name="connsiteX105" fmla="*/ 898104 w 1292225"/>
              <a:gd name="connsiteY105" fmla="*/ 777368 h 892175"/>
              <a:gd name="connsiteX106" fmla="*/ 890964 w 1292225"/>
              <a:gd name="connsiteY106" fmla="*/ 776655 h 892175"/>
              <a:gd name="connsiteX107" fmla="*/ 889535 w 1292225"/>
              <a:gd name="connsiteY107" fmla="*/ 776655 h 892175"/>
              <a:gd name="connsiteX108" fmla="*/ 883823 w 1292225"/>
              <a:gd name="connsiteY108" fmla="*/ 775230 h 892175"/>
              <a:gd name="connsiteX109" fmla="*/ 880966 w 1292225"/>
              <a:gd name="connsiteY109" fmla="*/ 774517 h 892175"/>
              <a:gd name="connsiteX110" fmla="*/ 876682 w 1292225"/>
              <a:gd name="connsiteY110" fmla="*/ 773805 h 892175"/>
              <a:gd name="connsiteX111" fmla="*/ 873826 w 1292225"/>
              <a:gd name="connsiteY111" fmla="*/ 773092 h 892175"/>
              <a:gd name="connsiteX112" fmla="*/ 867399 w 1292225"/>
              <a:gd name="connsiteY112" fmla="*/ 770954 h 892175"/>
              <a:gd name="connsiteX113" fmla="*/ 864542 w 1292225"/>
              <a:gd name="connsiteY113" fmla="*/ 770242 h 892175"/>
              <a:gd name="connsiteX114" fmla="*/ 860972 w 1292225"/>
              <a:gd name="connsiteY114" fmla="*/ 768816 h 892175"/>
              <a:gd name="connsiteX115" fmla="*/ 857402 w 1292225"/>
              <a:gd name="connsiteY115" fmla="*/ 768104 h 892175"/>
              <a:gd name="connsiteX116" fmla="*/ 854545 w 1292225"/>
              <a:gd name="connsiteY116" fmla="*/ 766679 h 892175"/>
              <a:gd name="connsiteX117" fmla="*/ 850975 w 1292225"/>
              <a:gd name="connsiteY117" fmla="*/ 765253 h 892175"/>
              <a:gd name="connsiteX118" fmla="*/ 846690 w 1292225"/>
              <a:gd name="connsiteY118" fmla="*/ 763115 h 892175"/>
              <a:gd name="connsiteX119" fmla="*/ 842406 w 1292225"/>
              <a:gd name="connsiteY119" fmla="*/ 760978 h 892175"/>
              <a:gd name="connsiteX120" fmla="*/ 839550 w 1292225"/>
              <a:gd name="connsiteY120" fmla="*/ 759552 h 892175"/>
              <a:gd name="connsiteX121" fmla="*/ 835979 w 1292225"/>
              <a:gd name="connsiteY121" fmla="*/ 758127 h 892175"/>
              <a:gd name="connsiteX122" fmla="*/ 833837 w 1292225"/>
              <a:gd name="connsiteY122" fmla="*/ 756702 h 892175"/>
              <a:gd name="connsiteX123" fmla="*/ 825268 w 1292225"/>
              <a:gd name="connsiteY123" fmla="*/ 751001 h 892175"/>
              <a:gd name="connsiteX124" fmla="*/ 819555 w 1292225"/>
              <a:gd name="connsiteY124" fmla="*/ 756702 h 892175"/>
              <a:gd name="connsiteX125" fmla="*/ 813128 w 1292225"/>
              <a:gd name="connsiteY125" fmla="*/ 761690 h 892175"/>
              <a:gd name="connsiteX126" fmla="*/ 812414 w 1292225"/>
              <a:gd name="connsiteY126" fmla="*/ 762403 h 892175"/>
              <a:gd name="connsiteX127" fmla="*/ 806702 w 1292225"/>
              <a:gd name="connsiteY127" fmla="*/ 766679 h 892175"/>
              <a:gd name="connsiteX128" fmla="*/ 805988 w 1292225"/>
              <a:gd name="connsiteY128" fmla="*/ 767391 h 892175"/>
              <a:gd name="connsiteX129" fmla="*/ 800275 w 1292225"/>
              <a:gd name="connsiteY129" fmla="*/ 770954 h 892175"/>
              <a:gd name="connsiteX130" fmla="*/ 798847 w 1292225"/>
              <a:gd name="connsiteY130" fmla="*/ 771667 h 892175"/>
              <a:gd name="connsiteX131" fmla="*/ 793134 w 1292225"/>
              <a:gd name="connsiteY131" fmla="*/ 775230 h 892175"/>
              <a:gd name="connsiteX132" fmla="*/ 790992 w 1292225"/>
              <a:gd name="connsiteY132" fmla="*/ 776655 h 892175"/>
              <a:gd name="connsiteX133" fmla="*/ 785993 w 1292225"/>
              <a:gd name="connsiteY133" fmla="*/ 779505 h 892175"/>
              <a:gd name="connsiteX134" fmla="*/ 783851 w 1292225"/>
              <a:gd name="connsiteY134" fmla="*/ 780218 h 892175"/>
              <a:gd name="connsiteX135" fmla="*/ 778138 w 1292225"/>
              <a:gd name="connsiteY135" fmla="*/ 783068 h 892175"/>
              <a:gd name="connsiteX136" fmla="*/ 775996 w 1292225"/>
              <a:gd name="connsiteY136" fmla="*/ 784494 h 892175"/>
              <a:gd name="connsiteX137" fmla="*/ 770283 w 1292225"/>
              <a:gd name="connsiteY137" fmla="*/ 786631 h 892175"/>
              <a:gd name="connsiteX138" fmla="*/ 768141 w 1292225"/>
              <a:gd name="connsiteY138" fmla="*/ 787344 h 892175"/>
              <a:gd name="connsiteX139" fmla="*/ 762428 w 1292225"/>
              <a:gd name="connsiteY139" fmla="*/ 789482 h 892175"/>
              <a:gd name="connsiteX140" fmla="*/ 759572 w 1292225"/>
              <a:gd name="connsiteY140" fmla="*/ 790194 h 892175"/>
              <a:gd name="connsiteX141" fmla="*/ 754574 w 1292225"/>
              <a:gd name="connsiteY141" fmla="*/ 792332 h 892175"/>
              <a:gd name="connsiteX142" fmla="*/ 751003 w 1292225"/>
              <a:gd name="connsiteY142" fmla="*/ 793045 h 892175"/>
              <a:gd name="connsiteX143" fmla="*/ 746005 w 1292225"/>
              <a:gd name="connsiteY143" fmla="*/ 794470 h 892175"/>
              <a:gd name="connsiteX144" fmla="*/ 742434 w 1292225"/>
              <a:gd name="connsiteY144" fmla="*/ 795183 h 892175"/>
              <a:gd name="connsiteX145" fmla="*/ 737436 w 1292225"/>
              <a:gd name="connsiteY145" fmla="*/ 796608 h 892175"/>
              <a:gd name="connsiteX146" fmla="*/ 733151 w 1292225"/>
              <a:gd name="connsiteY146" fmla="*/ 797321 h 892175"/>
              <a:gd name="connsiteX147" fmla="*/ 728867 w 1292225"/>
              <a:gd name="connsiteY147" fmla="*/ 798033 h 892175"/>
              <a:gd name="connsiteX148" fmla="*/ 724582 w 1292225"/>
              <a:gd name="connsiteY148" fmla="*/ 798746 h 892175"/>
              <a:gd name="connsiteX149" fmla="*/ 720298 w 1292225"/>
              <a:gd name="connsiteY149" fmla="*/ 798746 h 892175"/>
              <a:gd name="connsiteX150" fmla="*/ 714585 w 1292225"/>
              <a:gd name="connsiteY150" fmla="*/ 799458 h 892175"/>
              <a:gd name="connsiteX151" fmla="*/ 711014 w 1292225"/>
              <a:gd name="connsiteY151" fmla="*/ 799458 h 892175"/>
              <a:gd name="connsiteX152" fmla="*/ 702445 w 1292225"/>
              <a:gd name="connsiteY152" fmla="*/ 800171 h 892175"/>
              <a:gd name="connsiteX153" fmla="*/ 693162 w 1292225"/>
              <a:gd name="connsiteY153" fmla="*/ 799458 h 892175"/>
              <a:gd name="connsiteX154" fmla="*/ 689592 w 1292225"/>
              <a:gd name="connsiteY154" fmla="*/ 799458 h 892175"/>
              <a:gd name="connsiteX155" fmla="*/ 683879 w 1292225"/>
              <a:gd name="connsiteY155" fmla="*/ 798746 h 892175"/>
              <a:gd name="connsiteX156" fmla="*/ 679595 w 1292225"/>
              <a:gd name="connsiteY156" fmla="*/ 798033 h 892175"/>
              <a:gd name="connsiteX157" fmla="*/ 675310 w 1292225"/>
              <a:gd name="connsiteY157" fmla="*/ 798033 h 892175"/>
              <a:gd name="connsiteX158" fmla="*/ 669598 w 1292225"/>
              <a:gd name="connsiteY158" fmla="*/ 796608 h 892175"/>
              <a:gd name="connsiteX159" fmla="*/ 666027 w 1292225"/>
              <a:gd name="connsiteY159" fmla="*/ 795895 h 892175"/>
              <a:gd name="connsiteX160" fmla="*/ 660314 w 1292225"/>
              <a:gd name="connsiteY160" fmla="*/ 795183 h 892175"/>
              <a:gd name="connsiteX161" fmla="*/ 657458 w 1292225"/>
              <a:gd name="connsiteY161" fmla="*/ 794470 h 892175"/>
              <a:gd name="connsiteX162" fmla="*/ 651031 w 1292225"/>
              <a:gd name="connsiteY162" fmla="*/ 792332 h 892175"/>
              <a:gd name="connsiteX163" fmla="*/ 648889 w 1292225"/>
              <a:gd name="connsiteY163" fmla="*/ 791620 h 892175"/>
              <a:gd name="connsiteX164" fmla="*/ 642462 w 1292225"/>
              <a:gd name="connsiteY164" fmla="*/ 789482 h 892175"/>
              <a:gd name="connsiteX165" fmla="*/ 641034 w 1292225"/>
              <a:gd name="connsiteY165" fmla="*/ 789482 h 892175"/>
              <a:gd name="connsiteX166" fmla="*/ 633893 w 1292225"/>
              <a:gd name="connsiteY166" fmla="*/ 786631 h 892175"/>
              <a:gd name="connsiteX167" fmla="*/ 632465 w 1292225"/>
              <a:gd name="connsiteY167" fmla="*/ 785919 h 892175"/>
              <a:gd name="connsiteX168" fmla="*/ 626038 w 1292225"/>
              <a:gd name="connsiteY168" fmla="*/ 783068 h 892175"/>
              <a:gd name="connsiteX169" fmla="*/ 624610 w 1292225"/>
              <a:gd name="connsiteY169" fmla="*/ 782356 h 892175"/>
              <a:gd name="connsiteX170" fmla="*/ 617469 w 1292225"/>
              <a:gd name="connsiteY170" fmla="*/ 778793 h 892175"/>
              <a:gd name="connsiteX171" fmla="*/ 610329 w 1292225"/>
              <a:gd name="connsiteY171" fmla="*/ 774517 h 892175"/>
              <a:gd name="connsiteX172" fmla="*/ 609615 w 1292225"/>
              <a:gd name="connsiteY172" fmla="*/ 774517 h 892175"/>
              <a:gd name="connsiteX173" fmla="*/ 602474 w 1292225"/>
              <a:gd name="connsiteY173" fmla="*/ 770242 h 892175"/>
              <a:gd name="connsiteX174" fmla="*/ 576053 w 1292225"/>
              <a:gd name="connsiteY174" fmla="*/ 748863 h 892175"/>
              <a:gd name="connsiteX175" fmla="*/ 568198 w 1292225"/>
              <a:gd name="connsiteY175" fmla="*/ 757415 h 892175"/>
              <a:gd name="connsiteX176" fmla="*/ 567484 w 1292225"/>
              <a:gd name="connsiteY176" fmla="*/ 757415 h 892175"/>
              <a:gd name="connsiteX177" fmla="*/ 559629 w 1292225"/>
              <a:gd name="connsiteY177" fmla="*/ 765966 h 892175"/>
              <a:gd name="connsiteX178" fmla="*/ 558915 w 1292225"/>
              <a:gd name="connsiteY178" fmla="*/ 765966 h 892175"/>
              <a:gd name="connsiteX179" fmla="*/ 536064 w 1292225"/>
              <a:gd name="connsiteY179" fmla="*/ 785206 h 892175"/>
              <a:gd name="connsiteX180" fmla="*/ 534636 w 1292225"/>
              <a:gd name="connsiteY180" fmla="*/ 786631 h 892175"/>
              <a:gd name="connsiteX181" fmla="*/ 526781 w 1292225"/>
              <a:gd name="connsiteY181" fmla="*/ 791620 h 892175"/>
              <a:gd name="connsiteX182" fmla="*/ 523924 w 1292225"/>
              <a:gd name="connsiteY182" fmla="*/ 793758 h 892175"/>
              <a:gd name="connsiteX183" fmla="*/ 517498 w 1292225"/>
              <a:gd name="connsiteY183" fmla="*/ 797321 h 892175"/>
              <a:gd name="connsiteX184" fmla="*/ 513927 w 1292225"/>
              <a:gd name="connsiteY184" fmla="*/ 799458 h 892175"/>
              <a:gd name="connsiteX185" fmla="*/ 508215 w 1292225"/>
              <a:gd name="connsiteY185" fmla="*/ 802309 h 892175"/>
              <a:gd name="connsiteX186" fmla="*/ 503216 w 1292225"/>
              <a:gd name="connsiteY186" fmla="*/ 805159 h 892175"/>
              <a:gd name="connsiteX187" fmla="*/ 499646 w 1292225"/>
              <a:gd name="connsiteY187" fmla="*/ 807297 h 892175"/>
              <a:gd name="connsiteX188" fmla="*/ 492505 w 1292225"/>
              <a:gd name="connsiteY188" fmla="*/ 810147 h 892175"/>
              <a:gd name="connsiteX189" fmla="*/ 488934 w 1292225"/>
              <a:gd name="connsiteY189" fmla="*/ 811573 h 892175"/>
              <a:gd name="connsiteX190" fmla="*/ 481079 w 1292225"/>
              <a:gd name="connsiteY190" fmla="*/ 814423 h 892175"/>
              <a:gd name="connsiteX191" fmla="*/ 478223 w 1292225"/>
              <a:gd name="connsiteY191" fmla="*/ 815848 h 892175"/>
              <a:gd name="connsiteX192" fmla="*/ 470368 w 1292225"/>
              <a:gd name="connsiteY192" fmla="*/ 818699 h 892175"/>
              <a:gd name="connsiteX193" fmla="*/ 468226 w 1292225"/>
              <a:gd name="connsiteY193" fmla="*/ 818699 h 892175"/>
              <a:gd name="connsiteX194" fmla="*/ 459657 w 1292225"/>
              <a:gd name="connsiteY194" fmla="*/ 821549 h 892175"/>
              <a:gd name="connsiteX195" fmla="*/ 458229 w 1292225"/>
              <a:gd name="connsiteY195" fmla="*/ 821549 h 892175"/>
              <a:gd name="connsiteX196" fmla="*/ 448946 w 1292225"/>
              <a:gd name="connsiteY196" fmla="*/ 823687 h 892175"/>
              <a:gd name="connsiteX197" fmla="*/ 446803 w 1292225"/>
              <a:gd name="connsiteY197" fmla="*/ 824400 h 892175"/>
              <a:gd name="connsiteX198" fmla="*/ 436806 w 1292225"/>
              <a:gd name="connsiteY198" fmla="*/ 825825 h 892175"/>
              <a:gd name="connsiteX199" fmla="*/ 435378 w 1292225"/>
              <a:gd name="connsiteY199" fmla="*/ 826537 h 892175"/>
              <a:gd name="connsiteX200" fmla="*/ 425381 w 1292225"/>
              <a:gd name="connsiteY200" fmla="*/ 827963 h 892175"/>
              <a:gd name="connsiteX201" fmla="*/ 423239 w 1292225"/>
              <a:gd name="connsiteY201" fmla="*/ 827963 h 892175"/>
              <a:gd name="connsiteX202" fmla="*/ 413241 w 1292225"/>
              <a:gd name="connsiteY202" fmla="*/ 828675 h 892175"/>
              <a:gd name="connsiteX203" fmla="*/ 411813 w 1292225"/>
              <a:gd name="connsiteY203" fmla="*/ 828675 h 892175"/>
              <a:gd name="connsiteX204" fmla="*/ 401102 w 1292225"/>
              <a:gd name="connsiteY204" fmla="*/ 828675 h 892175"/>
              <a:gd name="connsiteX205" fmla="*/ 390391 w 1292225"/>
              <a:gd name="connsiteY205" fmla="*/ 828675 h 892175"/>
              <a:gd name="connsiteX206" fmla="*/ 388249 w 1292225"/>
              <a:gd name="connsiteY206" fmla="*/ 828675 h 892175"/>
              <a:gd name="connsiteX207" fmla="*/ 377537 w 1292225"/>
              <a:gd name="connsiteY207" fmla="*/ 827963 h 892175"/>
              <a:gd name="connsiteX208" fmla="*/ 376109 w 1292225"/>
              <a:gd name="connsiteY208" fmla="*/ 827963 h 892175"/>
              <a:gd name="connsiteX209" fmla="*/ 366826 w 1292225"/>
              <a:gd name="connsiteY209" fmla="*/ 826537 h 892175"/>
              <a:gd name="connsiteX210" fmla="*/ 365398 w 1292225"/>
              <a:gd name="connsiteY210" fmla="*/ 826537 h 892175"/>
              <a:gd name="connsiteX211" fmla="*/ 355401 w 1292225"/>
              <a:gd name="connsiteY211" fmla="*/ 824400 h 892175"/>
              <a:gd name="connsiteX212" fmla="*/ 353258 w 1292225"/>
              <a:gd name="connsiteY212" fmla="*/ 823687 h 892175"/>
              <a:gd name="connsiteX213" fmla="*/ 343261 w 1292225"/>
              <a:gd name="connsiteY213" fmla="*/ 821549 h 892175"/>
              <a:gd name="connsiteX214" fmla="*/ 333264 w 1292225"/>
              <a:gd name="connsiteY214" fmla="*/ 818699 h 892175"/>
              <a:gd name="connsiteX215" fmla="*/ 331836 w 1292225"/>
              <a:gd name="connsiteY215" fmla="*/ 817986 h 892175"/>
              <a:gd name="connsiteX216" fmla="*/ 322553 w 1292225"/>
              <a:gd name="connsiteY216" fmla="*/ 815136 h 892175"/>
              <a:gd name="connsiteX217" fmla="*/ 321125 w 1292225"/>
              <a:gd name="connsiteY217" fmla="*/ 814423 h 892175"/>
              <a:gd name="connsiteX218" fmla="*/ 313270 w 1292225"/>
              <a:gd name="connsiteY218" fmla="*/ 811573 h 892175"/>
              <a:gd name="connsiteX219" fmla="*/ 311128 w 1292225"/>
              <a:gd name="connsiteY219" fmla="*/ 810860 h 892175"/>
              <a:gd name="connsiteX220" fmla="*/ 302558 w 1292225"/>
              <a:gd name="connsiteY220" fmla="*/ 806584 h 892175"/>
              <a:gd name="connsiteX221" fmla="*/ 300416 w 1292225"/>
              <a:gd name="connsiteY221" fmla="*/ 805872 h 892175"/>
              <a:gd name="connsiteX222" fmla="*/ 292561 w 1292225"/>
              <a:gd name="connsiteY222" fmla="*/ 801596 h 892175"/>
              <a:gd name="connsiteX223" fmla="*/ 291133 w 1292225"/>
              <a:gd name="connsiteY223" fmla="*/ 800884 h 892175"/>
              <a:gd name="connsiteX224" fmla="*/ 283278 w 1292225"/>
              <a:gd name="connsiteY224" fmla="*/ 796608 h 892175"/>
              <a:gd name="connsiteX225" fmla="*/ 280422 w 1292225"/>
              <a:gd name="connsiteY225" fmla="*/ 795183 h 892175"/>
              <a:gd name="connsiteX226" fmla="*/ 273281 w 1292225"/>
              <a:gd name="connsiteY226" fmla="*/ 790194 h 892175"/>
              <a:gd name="connsiteX227" fmla="*/ 271139 w 1292225"/>
              <a:gd name="connsiteY227" fmla="*/ 788769 h 892175"/>
              <a:gd name="connsiteX228" fmla="*/ 264712 w 1292225"/>
              <a:gd name="connsiteY228" fmla="*/ 784494 h 892175"/>
              <a:gd name="connsiteX229" fmla="*/ 262570 w 1292225"/>
              <a:gd name="connsiteY229" fmla="*/ 782356 h 892175"/>
              <a:gd name="connsiteX230" fmla="*/ 255429 w 1292225"/>
              <a:gd name="connsiteY230" fmla="*/ 777368 h 892175"/>
              <a:gd name="connsiteX231" fmla="*/ 253287 w 1292225"/>
              <a:gd name="connsiteY231" fmla="*/ 775230 h 892175"/>
              <a:gd name="connsiteX232" fmla="*/ 247574 w 1292225"/>
              <a:gd name="connsiteY232" fmla="*/ 770242 h 892175"/>
              <a:gd name="connsiteX233" fmla="*/ 246146 w 1292225"/>
              <a:gd name="connsiteY233" fmla="*/ 768816 h 892175"/>
              <a:gd name="connsiteX234" fmla="*/ 239719 w 1292225"/>
              <a:gd name="connsiteY234" fmla="*/ 762403 h 892175"/>
              <a:gd name="connsiteX235" fmla="*/ 236863 w 1292225"/>
              <a:gd name="connsiteY235" fmla="*/ 760265 h 892175"/>
              <a:gd name="connsiteX236" fmla="*/ 231150 w 1292225"/>
              <a:gd name="connsiteY236" fmla="*/ 753852 h 892175"/>
              <a:gd name="connsiteX237" fmla="*/ 229008 w 1292225"/>
              <a:gd name="connsiteY237" fmla="*/ 751714 h 892175"/>
              <a:gd name="connsiteX238" fmla="*/ 224723 w 1292225"/>
              <a:gd name="connsiteY238" fmla="*/ 746726 h 892175"/>
              <a:gd name="connsiteX239" fmla="*/ 222581 w 1292225"/>
              <a:gd name="connsiteY239" fmla="*/ 744588 h 892175"/>
              <a:gd name="connsiteX240" fmla="*/ 216868 w 1292225"/>
              <a:gd name="connsiteY240" fmla="*/ 737462 h 892175"/>
              <a:gd name="connsiteX241" fmla="*/ 215440 w 1292225"/>
              <a:gd name="connsiteY241" fmla="*/ 734611 h 892175"/>
              <a:gd name="connsiteX242" fmla="*/ 211156 w 1292225"/>
              <a:gd name="connsiteY242" fmla="*/ 728910 h 892175"/>
              <a:gd name="connsiteX243" fmla="*/ 209728 w 1292225"/>
              <a:gd name="connsiteY243" fmla="*/ 726773 h 892175"/>
              <a:gd name="connsiteX244" fmla="*/ 201159 w 1292225"/>
              <a:gd name="connsiteY244" fmla="*/ 723922 h 892175"/>
              <a:gd name="connsiteX245" fmla="*/ 197588 w 1292225"/>
              <a:gd name="connsiteY245" fmla="*/ 722497 h 892175"/>
              <a:gd name="connsiteX246" fmla="*/ 191876 w 1292225"/>
              <a:gd name="connsiteY246" fmla="*/ 720359 h 892175"/>
              <a:gd name="connsiteX247" fmla="*/ 189019 w 1292225"/>
              <a:gd name="connsiteY247" fmla="*/ 718934 h 892175"/>
              <a:gd name="connsiteX248" fmla="*/ 183306 w 1292225"/>
              <a:gd name="connsiteY248" fmla="*/ 716796 h 892175"/>
              <a:gd name="connsiteX249" fmla="*/ 179736 w 1292225"/>
              <a:gd name="connsiteY249" fmla="*/ 715371 h 892175"/>
              <a:gd name="connsiteX250" fmla="*/ 174023 w 1292225"/>
              <a:gd name="connsiteY250" fmla="*/ 711808 h 892175"/>
              <a:gd name="connsiteX251" fmla="*/ 171881 w 1292225"/>
              <a:gd name="connsiteY251" fmla="*/ 711095 h 892175"/>
              <a:gd name="connsiteX252" fmla="*/ 164026 w 1292225"/>
              <a:gd name="connsiteY252" fmla="*/ 706107 h 892175"/>
              <a:gd name="connsiteX253" fmla="*/ 161170 w 1292225"/>
              <a:gd name="connsiteY253" fmla="*/ 704682 h 892175"/>
              <a:gd name="connsiteX254" fmla="*/ 156171 w 1292225"/>
              <a:gd name="connsiteY254" fmla="*/ 701119 h 892175"/>
              <a:gd name="connsiteX255" fmla="*/ 153315 w 1292225"/>
              <a:gd name="connsiteY255" fmla="*/ 699694 h 892175"/>
              <a:gd name="connsiteX256" fmla="*/ 148316 w 1292225"/>
              <a:gd name="connsiteY256" fmla="*/ 696131 h 892175"/>
              <a:gd name="connsiteX257" fmla="*/ 145460 w 1292225"/>
              <a:gd name="connsiteY257" fmla="*/ 693993 h 892175"/>
              <a:gd name="connsiteX258" fmla="*/ 140461 w 1292225"/>
              <a:gd name="connsiteY258" fmla="*/ 690430 h 892175"/>
              <a:gd name="connsiteX259" fmla="*/ 138319 w 1292225"/>
              <a:gd name="connsiteY259" fmla="*/ 688292 h 892175"/>
              <a:gd name="connsiteX260" fmla="*/ 131178 w 1292225"/>
              <a:gd name="connsiteY260" fmla="*/ 682591 h 892175"/>
              <a:gd name="connsiteX261" fmla="*/ 129750 w 1292225"/>
              <a:gd name="connsiteY261" fmla="*/ 681166 h 892175"/>
              <a:gd name="connsiteX262" fmla="*/ 124038 w 1292225"/>
              <a:gd name="connsiteY262" fmla="*/ 676178 h 892175"/>
              <a:gd name="connsiteX263" fmla="*/ 121895 w 1292225"/>
              <a:gd name="connsiteY263" fmla="*/ 674040 h 892175"/>
              <a:gd name="connsiteX264" fmla="*/ 117611 w 1292225"/>
              <a:gd name="connsiteY264" fmla="*/ 669052 h 892175"/>
              <a:gd name="connsiteX265" fmla="*/ 115469 w 1292225"/>
              <a:gd name="connsiteY265" fmla="*/ 666914 h 892175"/>
              <a:gd name="connsiteX266" fmla="*/ 111184 w 1292225"/>
              <a:gd name="connsiteY266" fmla="*/ 661926 h 892175"/>
              <a:gd name="connsiteX267" fmla="*/ 109756 w 1292225"/>
              <a:gd name="connsiteY267" fmla="*/ 659788 h 892175"/>
              <a:gd name="connsiteX268" fmla="*/ 104043 w 1292225"/>
              <a:gd name="connsiteY268" fmla="*/ 652662 h 892175"/>
              <a:gd name="connsiteX269" fmla="*/ 103329 w 1292225"/>
              <a:gd name="connsiteY269" fmla="*/ 652662 h 892175"/>
              <a:gd name="connsiteX270" fmla="*/ 98331 w 1292225"/>
              <a:gd name="connsiteY270" fmla="*/ 644823 h 892175"/>
              <a:gd name="connsiteX271" fmla="*/ 96902 w 1292225"/>
              <a:gd name="connsiteY271" fmla="*/ 642685 h 892175"/>
              <a:gd name="connsiteX272" fmla="*/ 93332 w 1292225"/>
              <a:gd name="connsiteY272" fmla="*/ 636984 h 892175"/>
              <a:gd name="connsiteX273" fmla="*/ 91190 w 1292225"/>
              <a:gd name="connsiteY273" fmla="*/ 634134 h 892175"/>
              <a:gd name="connsiteX274" fmla="*/ 88333 w 1292225"/>
              <a:gd name="connsiteY274" fmla="*/ 629146 h 892175"/>
              <a:gd name="connsiteX275" fmla="*/ 86905 w 1292225"/>
              <a:gd name="connsiteY275" fmla="*/ 626295 h 892175"/>
              <a:gd name="connsiteX276" fmla="*/ 83335 w 1292225"/>
              <a:gd name="connsiteY276" fmla="*/ 619882 h 892175"/>
              <a:gd name="connsiteX277" fmla="*/ 82621 w 1292225"/>
              <a:gd name="connsiteY277" fmla="*/ 617744 h 892175"/>
              <a:gd name="connsiteX278" fmla="*/ 78336 w 1292225"/>
              <a:gd name="connsiteY278" fmla="*/ 609193 h 892175"/>
              <a:gd name="connsiteX279" fmla="*/ 77622 w 1292225"/>
              <a:gd name="connsiteY279" fmla="*/ 607055 h 892175"/>
              <a:gd name="connsiteX280" fmla="*/ 75480 w 1292225"/>
              <a:gd name="connsiteY280" fmla="*/ 600642 h 892175"/>
              <a:gd name="connsiteX281" fmla="*/ 74052 w 1292225"/>
              <a:gd name="connsiteY281" fmla="*/ 597791 h 892175"/>
              <a:gd name="connsiteX282" fmla="*/ 71909 w 1292225"/>
              <a:gd name="connsiteY282" fmla="*/ 592090 h 892175"/>
              <a:gd name="connsiteX283" fmla="*/ 71195 w 1292225"/>
              <a:gd name="connsiteY283" fmla="*/ 588527 h 892175"/>
              <a:gd name="connsiteX284" fmla="*/ 69053 w 1292225"/>
              <a:gd name="connsiteY284" fmla="*/ 582114 h 892175"/>
              <a:gd name="connsiteX285" fmla="*/ 68339 w 1292225"/>
              <a:gd name="connsiteY285" fmla="*/ 579263 h 892175"/>
              <a:gd name="connsiteX286" fmla="*/ 66197 w 1292225"/>
              <a:gd name="connsiteY286" fmla="*/ 570000 h 892175"/>
              <a:gd name="connsiteX287" fmla="*/ 66197 w 1292225"/>
              <a:gd name="connsiteY287" fmla="*/ 568574 h 892175"/>
              <a:gd name="connsiteX288" fmla="*/ 64769 w 1292225"/>
              <a:gd name="connsiteY288" fmla="*/ 560736 h 892175"/>
              <a:gd name="connsiteX289" fmla="*/ 64055 w 1292225"/>
              <a:gd name="connsiteY289" fmla="*/ 557173 h 892175"/>
              <a:gd name="connsiteX290" fmla="*/ 63340 w 1292225"/>
              <a:gd name="connsiteY290" fmla="*/ 550759 h 892175"/>
              <a:gd name="connsiteX291" fmla="*/ 62626 w 1292225"/>
              <a:gd name="connsiteY291" fmla="*/ 547196 h 892175"/>
              <a:gd name="connsiteX292" fmla="*/ 62626 w 1292225"/>
              <a:gd name="connsiteY292" fmla="*/ 540783 h 892175"/>
              <a:gd name="connsiteX293" fmla="*/ 61912 w 1292225"/>
              <a:gd name="connsiteY293" fmla="*/ 537932 h 892175"/>
              <a:gd name="connsiteX294" fmla="*/ 61912 w 1292225"/>
              <a:gd name="connsiteY294" fmla="*/ 527956 h 892175"/>
              <a:gd name="connsiteX295" fmla="*/ 241861 w 1292225"/>
              <a:gd name="connsiteY295" fmla="*/ 322013 h 892175"/>
              <a:gd name="connsiteX296" fmla="*/ 241147 w 1292225"/>
              <a:gd name="connsiteY296" fmla="*/ 297784 h 892175"/>
              <a:gd name="connsiteX297" fmla="*/ 479651 w 1292225"/>
              <a:gd name="connsiteY297" fmla="*/ 61912 h 892175"/>
              <a:gd name="connsiteX298" fmla="*/ 479562 w 1292225"/>
              <a:gd name="connsiteY298" fmla="*/ 30162 h 892175"/>
              <a:gd name="connsiteX299" fmla="*/ 209494 w 1292225"/>
              <a:gd name="connsiteY299" fmla="*/ 297440 h 892175"/>
              <a:gd name="connsiteX300" fmla="*/ 89463 w 1292225"/>
              <a:gd name="connsiteY300" fmla="*/ 371049 h 892175"/>
              <a:gd name="connsiteX301" fmla="*/ 30162 w 1292225"/>
              <a:gd name="connsiteY301" fmla="*/ 528986 h 892175"/>
              <a:gd name="connsiteX302" fmla="*/ 30162 w 1292225"/>
              <a:gd name="connsiteY302" fmla="*/ 540421 h 892175"/>
              <a:gd name="connsiteX303" fmla="*/ 30877 w 1292225"/>
              <a:gd name="connsiteY303" fmla="*/ 543279 h 892175"/>
              <a:gd name="connsiteX304" fmla="*/ 30877 w 1292225"/>
              <a:gd name="connsiteY304" fmla="*/ 543994 h 892175"/>
              <a:gd name="connsiteX305" fmla="*/ 30877 w 1292225"/>
              <a:gd name="connsiteY305" fmla="*/ 551855 h 892175"/>
              <a:gd name="connsiteX306" fmla="*/ 31591 w 1292225"/>
              <a:gd name="connsiteY306" fmla="*/ 555428 h 892175"/>
              <a:gd name="connsiteX307" fmla="*/ 32306 w 1292225"/>
              <a:gd name="connsiteY307" fmla="*/ 563289 h 892175"/>
              <a:gd name="connsiteX308" fmla="*/ 33020 w 1292225"/>
              <a:gd name="connsiteY308" fmla="*/ 564004 h 892175"/>
              <a:gd name="connsiteX309" fmla="*/ 33020 w 1292225"/>
              <a:gd name="connsiteY309" fmla="*/ 566863 h 892175"/>
              <a:gd name="connsiteX310" fmla="*/ 34449 w 1292225"/>
              <a:gd name="connsiteY310" fmla="*/ 575438 h 892175"/>
              <a:gd name="connsiteX311" fmla="*/ 35164 w 1292225"/>
              <a:gd name="connsiteY311" fmla="*/ 577582 h 892175"/>
              <a:gd name="connsiteX312" fmla="*/ 37307 w 1292225"/>
              <a:gd name="connsiteY312" fmla="*/ 588302 h 892175"/>
              <a:gd name="connsiteX313" fmla="*/ 38021 w 1292225"/>
              <a:gd name="connsiteY313" fmla="*/ 590446 h 892175"/>
              <a:gd name="connsiteX314" fmla="*/ 38736 w 1292225"/>
              <a:gd name="connsiteY314" fmla="*/ 591161 h 892175"/>
              <a:gd name="connsiteX315" fmla="*/ 40879 w 1292225"/>
              <a:gd name="connsiteY315" fmla="*/ 599022 h 892175"/>
              <a:gd name="connsiteX316" fmla="*/ 41594 w 1292225"/>
              <a:gd name="connsiteY316" fmla="*/ 602595 h 892175"/>
              <a:gd name="connsiteX317" fmla="*/ 44452 w 1292225"/>
              <a:gd name="connsiteY317" fmla="*/ 609741 h 892175"/>
              <a:gd name="connsiteX318" fmla="*/ 44452 w 1292225"/>
              <a:gd name="connsiteY318" fmla="*/ 610456 h 892175"/>
              <a:gd name="connsiteX319" fmla="*/ 45166 w 1292225"/>
              <a:gd name="connsiteY319" fmla="*/ 613315 h 892175"/>
              <a:gd name="connsiteX320" fmla="*/ 48024 w 1292225"/>
              <a:gd name="connsiteY320" fmla="*/ 620461 h 892175"/>
              <a:gd name="connsiteX321" fmla="*/ 48738 w 1292225"/>
              <a:gd name="connsiteY321" fmla="*/ 621176 h 892175"/>
              <a:gd name="connsiteX322" fmla="*/ 49453 w 1292225"/>
              <a:gd name="connsiteY322" fmla="*/ 623320 h 892175"/>
              <a:gd name="connsiteX323" fmla="*/ 53740 w 1292225"/>
              <a:gd name="connsiteY323" fmla="*/ 633325 h 892175"/>
              <a:gd name="connsiteX324" fmla="*/ 55169 w 1292225"/>
              <a:gd name="connsiteY324" fmla="*/ 634754 h 892175"/>
              <a:gd name="connsiteX325" fmla="*/ 58741 w 1292225"/>
              <a:gd name="connsiteY325" fmla="*/ 642615 h 892175"/>
              <a:gd name="connsiteX326" fmla="*/ 60170 w 1292225"/>
              <a:gd name="connsiteY326" fmla="*/ 645474 h 892175"/>
              <a:gd name="connsiteX327" fmla="*/ 60884 w 1292225"/>
              <a:gd name="connsiteY327" fmla="*/ 645474 h 892175"/>
              <a:gd name="connsiteX328" fmla="*/ 64457 w 1292225"/>
              <a:gd name="connsiteY328" fmla="*/ 651906 h 892175"/>
              <a:gd name="connsiteX329" fmla="*/ 66600 w 1292225"/>
              <a:gd name="connsiteY329" fmla="*/ 655479 h 892175"/>
              <a:gd name="connsiteX330" fmla="*/ 70172 w 1292225"/>
              <a:gd name="connsiteY330" fmla="*/ 661196 h 892175"/>
              <a:gd name="connsiteX331" fmla="*/ 70887 w 1292225"/>
              <a:gd name="connsiteY331" fmla="*/ 661911 h 892175"/>
              <a:gd name="connsiteX332" fmla="*/ 72316 w 1292225"/>
              <a:gd name="connsiteY332" fmla="*/ 664055 h 892175"/>
              <a:gd name="connsiteX333" fmla="*/ 78032 w 1292225"/>
              <a:gd name="connsiteY333" fmla="*/ 672630 h 892175"/>
              <a:gd name="connsiteX334" fmla="*/ 78746 w 1292225"/>
              <a:gd name="connsiteY334" fmla="*/ 673345 h 892175"/>
              <a:gd name="connsiteX335" fmla="*/ 85176 w 1292225"/>
              <a:gd name="connsiteY335" fmla="*/ 681206 h 892175"/>
              <a:gd name="connsiteX336" fmla="*/ 86605 w 1292225"/>
              <a:gd name="connsiteY336" fmla="*/ 683350 h 892175"/>
              <a:gd name="connsiteX337" fmla="*/ 87320 w 1292225"/>
              <a:gd name="connsiteY337" fmla="*/ 684065 h 892175"/>
              <a:gd name="connsiteX338" fmla="*/ 91606 w 1292225"/>
              <a:gd name="connsiteY338" fmla="*/ 689067 h 892175"/>
              <a:gd name="connsiteX339" fmla="*/ 94464 w 1292225"/>
              <a:gd name="connsiteY339" fmla="*/ 691926 h 892175"/>
              <a:gd name="connsiteX340" fmla="*/ 99466 w 1292225"/>
              <a:gd name="connsiteY340" fmla="*/ 697643 h 892175"/>
              <a:gd name="connsiteX341" fmla="*/ 100180 w 1292225"/>
              <a:gd name="connsiteY341" fmla="*/ 697643 h 892175"/>
              <a:gd name="connsiteX342" fmla="*/ 102323 w 1292225"/>
              <a:gd name="connsiteY342" fmla="*/ 699787 h 892175"/>
              <a:gd name="connsiteX343" fmla="*/ 108039 w 1292225"/>
              <a:gd name="connsiteY343" fmla="*/ 705504 h 892175"/>
              <a:gd name="connsiteX344" fmla="*/ 108754 w 1292225"/>
              <a:gd name="connsiteY344" fmla="*/ 706219 h 892175"/>
              <a:gd name="connsiteX345" fmla="*/ 109468 w 1292225"/>
              <a:gd name="connsiteY345" fmla="*/ 706934 h 892175"/>
              <a:gd name="connsiteX346" fmla="*/ 118042 w 1292225"/>
              <a:gd name="connsiteY346" fmla="*/ 714080 h 892175"/>
              <a:gd name="connsiteX347" fmla="*/ 119471 w 1292225"/>
              <a:gd name="connsiteY347" fmla="*/ 715509 h 892175"/>
              <a:gd name="connsiteX348" fmla="*/ 120185 w 1292225"/>
              <a:gd name="connsiteY348" fmla="*/ 716224 h 892175"/>
              <a:gd name="connsiteX349" fmla="*/ 125901 w 1292225"/>
              <a:gd name="connsiteY349" fmla="*/ 720512 h 892175"/>
              <a:gd name="connsiteX350" fmla="*/ 128759 w 1292225"/>
              <a:gd name="connsiteY350" fmla="*/ 722656 h 892175"/>
              <a:gd name="connsiteX351" fmla="*/ 129473 w 1292225"/>
              <a:gd name="connsiteY351" fmla="*/ 723370 h 892175"/>
              <a:gd name="connsiteX352" fmla="*/ 135189 w 1292225"/>
              <a:gd name="connsiteY352" fmla="*/ 726944 h 892175"/>
              <a:gd name="connsiteX353" fmla="*/ 135189 w 1292225"/>
              <a:gd name="connsiteY353" fmla="*/ 727658 h 892175"/>
              <a:gd name="connsiteX354" fmla="*/ 138047 w 1292225"/>
              <a:gd name="connsiteY354" fmla="*/ 729088 h 892175"/>
              <a:gd name="connsiteX355" fmla="*/ 144477 w 1292225"/>
              <a:gd name="connsiteY355" fmla="*/ 733376 h 892175"/>
              <a:gd name="connsiteX356" fmla="*/ 145192 w 1292225"/>
              <a:gd name="connsiteY356" fmla="*/ 733376 h 892175"/>
              <a:gd name="connsiteX357" fmla="*/ 147335 w 1292225"/>
              <a:gd name="connsiteY357" fmla="*/ 734805 h 892175"/>
              <a:gd name="connsiteX358" fmla="*/ 156623 w 1292225"/>
              <a:gd name="connsiteY358" fmla="*/ 739807 h 892175"/>
              <a:gd name="connsiteX359" fmla="*/ 158766 w 1292225"/>
              <a:gd name="connsiteY359" fmla="*/ 741237 h 892175"/>
              <a:gd name="connsiteX360" fmla="*/ 165911 w 1292225"/>
              <a:gd name="connsiteY360" fmla="*/ 744810 h 892175"/>
              <a:gd name="connsiteX361" fmla="*/ 168769 w 1292225"/>
              <a:gd name="connsiteY361" fmla="*/ 746239 h 892175"/>
              <a:gd name="connsiteX362" fmla="*/ 169483 w 1292225"/>
              <a:gd name="connsiteY362" fmla="*/ 746954 h 892175"/>
              <a:gd name="connsiteX363" fmla="*/ 175914 w 1292225"/>
              <a:gd name="connsiteY363" fmla="*/ 749812 h 892175"/>
              <a:gd name="connsiteX364" fmla="*/ 180200 w 1292225"/>
              <a:gd name="connsiteY364" fmla="*/ 751242 h 892175"/>
              <a:gd name="connsiteX365" fmla="*/ 186631 w 1292225"/>
              <a:gd name="connsiteY365" fmla="*/ 754100 h 892175"/>
              <a:gd name="connsiteX366" fmla="*/ 187345 w 1292225"/>
              <a:gd name="connsiteY366" fmla="*/ 754100 h 892175"/>
              <a:gd name="connsiteX367" fmla="*/ 189488 w 1292225"/>
              <a:gd name="connsiteY367" fmla="*/ 754815 h 892175"/>
              <a:gd name="connsiteX368" fmla="*/ 191632 w 1292225"/>
              <a:gd name="connsiteY368" fmla="*/ 757674 h 892175"/>
              <a:gd name="connsiteX369" fmla="*/ 198062 w 1292225"/>
              <a:gd name="connsiteY369" fmla="*/ 765535 h 892175"/>
              <a:gd name="connsiteX370" fmla="*/ 199491 w 1292225"/>
              <a:gd name="connsiteY370" fmla="*/ 767679 h 892175"/>
              <a:gd name="connsiteX371" fmla="*/ 200206 w 1292225"/>
              <a:gd name="connsiteY371" fmla="*/ 768393 h 892175"/>
              <a:gd name="connsiteX372" fmla="*/ 205921 w 1292225"/>
              <a:gd name="connsiteY372" fmla="*/ 774825 h 892175"/>
              <a:gd name="connsiteX373" fmla="*/ 207350 w 1292225"/>
              <a:gd name="connsiteY373" fmla="*/ 776969 h 892175"/>
              <a:gd name="connsiteX374" fmla="*/ 214495 w 1292225"/>
              <a:gd name="connsiteY374" fmla="*/ 784116 h 892175"/>
              <a:gd name="connsiteX375" fmla="*/ 217353 w 1292225"/>
              <a:gd name="connsiteY375" fmla="*/ 786974 h 892175"/>
              <a:gd name="connsiteX376" fmla="*/ 224497 w 1292225"/>
              <a:gd name="connsiteY376" fmla="*/ 793406 h 892175"/>
              <a:gd name="connsiteX377" fmla="*/ 225926 w 1292225"/>
              <a:gd name="connsiteY377" fmla="*/ 795550 h 892175"/>
              <a:gd name="connsiteX378" fmla="*/ 233071 w 1292225"/>
              <a:gd name="connsiteY378" fmla="*/ 801267 h 892175"/>
              <a:gd name="connsiteX379" fmla="*/ 235214 w 1292225"/>
              <a:gd name="connsiteY379" fmla="*/ 803411 h 892175"/>
              <a:gd name="connsiteX380" fmla="*/ 243788 w 1292225"/>
              <a:gd name="connsiteY380" fmla="*/ 809128 h 892175"/>
              <a:gd name="connsiteX381" fmla="*/ 245217 w 1292225"/>
              <a:gd name="connsiteY381" fmla="*/ 810558 h 892175"/>
              <a:gd name="connsiteX382" fmla="*/ 245931 w 1292225"/>
              <a:gd name="connsiteY382" fmla="*/ 811272 h 892175"/>
              <a:gd name="connsiteX383" fmla="*/ 253076 w 1292225"/>
              <a:gd name="connsiteY383" fmla="*/ 816275 h 892175"/>
              <a:gd name="connsiteX384" fmla="*/ 255219 w 1292225"/>
              <a:gd name="connsiteY384" fmla="*/ 817704 h 892175"/>
              <a:gd name="connsiteX385" fmla="*/ 263793 w 1292225"/>
              <a:gd name="connsiteY385" fmla="*/ 823421 h 892175"/>
              <a:gd name="connsiteX386" fmla="*/ 266651 w 1292225"/>
              <a:gd name="connsiteY386" fmla="*/ 824850 h 892175"/>
              <a:gd name="connsiteX387" fmla="*/ 275939 w 1292225"/>
              <a:gd name="connsiteY387" fmla="*/ 830568 h 892175"/>
              <a:gd name="connsiteX388" fmla="*/ 277368 w 1292225"/>
              <a:gd name="connsiteY388" fmla="*/ 831282 h 892175"/>
              <a:gd name="connsiteX389" fmla="*/ 285942 w 1292225"/>
              <a:gd name="connsiteY389" fmla="*/ 835570 h 892175"/>
              <a:gd name="connsiteX390" fmla="*/ 288799 w 1292225"/>
              <a:gd name="connsiteY390" fmla="*/ 836999 h 892175"/>
              <a:gd name="connsiteX391" fmla="*/ 298802 w 1292225"/>
              <a:gd name="connsiteY391" fmla="*/ 841287 h 892175"/>
              <a:gd name="connsiteX392" fmla="*/ 300945 w 1292225"/>
              <a:gd name="connsiteY392" fmla="*/ 842002 h 892175"/>
              <a:gd name="connsiteX393" fmla="*/ 309519 w 1292225"/>
              <a:gd name="connsiteY393" fmla="*/ 845575 h 892175"/>
              <a:gd name="connsiteX394" fmla="*/ 311662 w 1292225"/>
              <a:gd name="connsiteY394" fmla="*/ 846290 h 892175"/>
              <a:gd name="connsiteX395" fmla="*/ 322379 w 1292225"/>
              <a:gd name="connsiteY395" fmla="*/ 849863 h 892175"/>
              <a:gd name="connsiteX396" fmla="*/ 324523 w 1292225"/>
              <a:gd name="connsiteY396" fmla="*/ 850578 h 892175"/>
              <a:gd name="connsiteX397" fmla="*/ 335240 w 1292225"/>
              <a:gd name="connsiteY397" fmla="*/ 854151 h 892175"/>
              <a:gd name="connsiteX398" fmla="*/ 336669 w 1292225"/>
              <a:gd name="connsiteY398" fmla="*/ 854151 h 892175"/>
              <a:gd name="connsiteX399" fmla="*/ 347386 w 1292225"/>
              <a:gd name="connsiteY399" fmla="*/ 857010 h 892175"/>
              <a:gd name="connsiteX400" fmla="*/ 349529 w 1292225"/>
              <a:gd name="connsiteY400" fmla="*/ 857010 h 892175"/>
              <a:gd name="connsiteX401" fmla="*/ 360961 w 1292225"/>
              <a:gd name="connsiteY401" fmla="*/ 859154 h 892175"/>
              <a:gd name="connsiteX402" fmla="*/ 363104 w 1292225"/>
              <a:gd name="connsiteY402" fmla="*/ 859154 h 892175"/>
              <a:gd name="connsiteX403" fmla="*/ 373107 w 1292225"/>
              <a:gd name="connsiteY403" fmla="*/ 860583 h 892175"/>
              <a:gd name="connsiteX404" fmla="*/ 375250 w 1292225"/>
              <a:gd name="connsiteY404" fmla="*/ 861298 h 892175"/>
              <a:gd name="connsiteX405" fmla="*/ 386682 w 1292225"/>
              <a:gd name="connsiteY405" fmla="*/ 862012 h 892175"/>
              <a:gd name="connsiteX406" fmla="*/ 389539 w 1292225"/>
              <a:gd name="connsiteY406" fmla="*/ 862012 h 892175"/>
              <a:gd name="connsiteX407" fmla="*/ 401685 w 1292225"/>
              <a:gd name="connsiteY407" fmla="*/ 862012 h 892175"/>
              <a:gd name="connsiteX408" fmla="*/ 414546 w 1292225"/>
              <a:gd name="connsiteY408" fmla="*/ 862012 h 892175"/>
              <a:gd name="connsiteX409" fmla="*/ 415260 w 1292225"/>
              <a:gd name="connsiteY409" fmla="*/ 862012 h 892175"/>
              <a:gd name="connsiteX410" fmla="*/ 425977 w 1292225"/>
              <a:gd name="connsiteY410" fmla="*/ 861298 h 892175"/>
              <a:gd name="connsiteX411" fmla="*/ 428121 w 1292225"/>
              <a:gd name="connsiteY411" fmla="*/ 860583 h 892175"/>
              <a:gd name="connsiteX412" fmla="*/ 439552 w 1292225"/>
              <a:gd name="connsiteY412" fmla="*/ 859154 h 892175"/>
              <a:gd name="connsiteX413" fmla="*/ 441696 w 1292225"/>
              <a:gd name="connsiteY413" fmla="*/ 859154 h 892175"/>
              <a:gd name="connsiteX414" fmla="*/ 452413 w 1292225"/>
              <a:gd name="connsiteY414" fmla="*/ 857010 h 892175"/>
              <a:gd name="connsiteX415" fmla="*/ 455270 w 1292225"/>
              <a:gd name="connsiteY415" fmla="*/ 857010 h 892175"/>
              <a:gd name="connsiteX416" fmla="*/ 465987 w 1292225"/>
              <a:gd name="connsiteY416" fmla="*/ 854151 h 892175"/>
              <a:gd name="connsiteX417" fmla="*/ 468131 w 1292225"/>
              <a:gd name="connsiteY417" fmla="*/ 853436 h 892175"/>
              <a:gd name="connsiteX418" fmla="*/ 477419 w 1292225"/>
              <a:gd name="connsiteY418" fmla="*/ 851292 h 892175"/>
              <a:gd name="connsiteX419" fmla="*/ 479562 w 1292225"/>
              <a:gd name="connsiteY419" fmla="*/ 849863 h 892175"/>
              <a:gd name="connsiteX420" fmla="*/ 488850 w 1292225"/>
              <a:gd name="connsiteY420" fmla="*/ 847005 h 892175"/>
              <a:gd name="connsiteX421" fmla="*/ 489565 w 1292225"/>
              <a:gd name="connsiteY421" fmla="*/ 847005 h 892175"/>
              <a:gd name="connsiteX422" fmla="*/ 492423 w 1292225"/>
              <a:gd name="connsiteY422" fmla="*/ 845575 h 892175"/>
              <a:gd name="connsiteX423" fmla="*/ 500996 w 1292225"/>
              <a:gd name="connsiteY423" fmla="*/ 842717 h 892175"/>
              <a:gd name="connsiteX424" fmla="*/ 504569 w 1292225"/>
              <a:gd name="connsiteY424" fmla="*/ 840573 h 892175"/>
              <a:gd name="connsiteX425" fmla="*/ 512428 w 1292225"/>
              <a:gd name="connsiteY425" fmla="*/ 836999 h 892175"/>
              <a:gd name="connsiteX426" fmla="*/ 516715 w 1292225"/>
              <a:gd name="connsiteY426" fmla="*/ 834856 h 892175"/>
              <a:gd name="connsiteX427" fmla="*/ 523145 w 1292225"/>
              <a:gd name="connsiteY427" fmla="*/ 831997 h 892175"/>
              <a:gd name="connsiteX428" fmla="*/ 528861 w 1292225"/>
              <a:gd name="connsiteY428" fmla="*/ 829138 h 892175"/>
              <a:gd name="connsiteX429" fmla="*/ 533147 w 1292225"/>
              <a:gd name="connsiteY429" fmla="*/ 826280 h 892175"/>
              <a:gd name="connsiteX430" fmla="*/ 541006 w 1292225"/>
              <a:gd name="connsiteY430" fmla="*/ 821992 h 892175"/>
              <a:gd name="connsiteX431" fmla="*/ 543864 w 1292225"/>
              <a:gd name="connsiteY431" fmla="*/ 819848 h 892175"/>
              <a:gd name="connsiteX432" fmla="*/ 552438 w 1292225"/>
              <a:gd name="connsiteY432" fmla="*/ 814131 h 892175"/>
              <a:gd name="connsiteX433" fmla="*/ 554581 w 1292225"/>
              <a:gd name="connsiteY433" fmla="*/ 812701 h 892175"/>
              <a:gd name="connsiteX434" fmla="*/ 578159 w 1292225"/>
              <a:gd name="connsiteY434" fmla="*/ 793406 h 892175"/>
              <a:gd name="connsiteX435" fmla="*/ 583875 w 1292225"/>
              <a:gd name="connsiteY435" fmla="*/ 796979 h 892175"/>
              <a:gd name="connsiteX436" fmla="*/ 585303 w 1292225"/>
              <a:gd name="connsiteY436" fmla="*/ 798409 h 892175"/>
              <a:gd name="connsiteX437" fmla="*/ 586732 w 1292225"/>
              <a:gd name="connsiteY437" fmla="*/ 799123 h 892175"/>
              <a:gd name="connsiteX438" fmla="*/ 593877 w 1292225"/>
              <a:gd name="connsiteY438" fmla="*/ 803411 h 892175"/>
              <a:gd name="connsiteX439" fmla="*/ 602451 w 1292225"/>
              <a:gd name="connsiteY439" fmla="*/ 808414 h 892175"/>
              <a:gd name="connsiteX440" fmla="*/ 603165 w 1292225"/>
              <a:gd name="connsiteY440" fmla="*/ 808414 h 892175"/>
              <a:gd name="connsiteX441" fmla="*/ 611739 w 1292225"/>
              <a:gd name="connsiteY441" fmla="*/ 812701 h 892175"/>
              <a:gd name="connsiteX442" fmla="*/ 612453 w 1292225"/>
              <a:gd name="connsiteY442" fmla="*/ 813416 h 892175"/>
              <a:gd name="connsiteX443" fmla="*/ 621027 w 1292225"/>
              <a:gd name="connsiteY443" fmla="*/ 816989 h 892175"/>
              <a:gd name="connsiteX444" fmla="*/ 622456 w 1292225"/>
              <a:gd name="connsiteY444" fmla="*/ 817704 h 892175"/>
              <a:gd name="connsiteX445" fmla="*/ 630315 w 1292225"/>
              <a:gd name="connsiteY445" fmla="*/ 820563 h 892175"/>
              <a:gd name="connsiteX446" fmla="*/ 632458 w 1292225"/>
              <a:gd name="connsiteY446" fmla="*/ 821277 h 892175"/>
              <a:gd name="connsiteX447" fmla="*/ 640317 w 1292225"/>
              <a:gd name="connsiteY447" fmla="*/ 824136 h 892175"/>
              <a:gd name="connsiteX448" fmla="*/ 641746 w 1292225"/>
              <a:gd name="connsiteY448" fmla="*/ 824136 h 892175"/>
              <a:gd name="connsiteX449" fmla="*/ 642461 w 1292225"/>
              <a:gd name="connsiteY449" fmla="*/ 824850 h 892175"/>
              <a:gd name="connsiteX450" fmla="*/ 649606 w 1292225"/>
              <a:gd name="connsiteY450" fmla="*/ 826280 h 892175"/>
              <a:gd name="connsiteX451" fmla="*/ 652463 w 1292225"/>
              <a:gd name="connsiteY451" fmla="*/ 826994 h 892175"/>
              <a:gd name="connsiteX452" fmla="*/ 653892 w 1292225"/>
              <a:gd name="connsiteY452" fmla="*/ 827709 h 892175"/>
              <a:gd name="connsiteX453" fmla="*/ 659608 w 1292225"/>
              <a:gd name="connsiteY453" fmla="*/ 829138 h 892175"/>
              <a:gd name="connsiteX454" fmla="*/ 663180 w 1292225"/>
              <a:gd name="connsiteY454" fmla="*/ 829138 h 892175"/>
              <a:gd name="connsiteX455" fmla="*/ 665324 w 1292225"/>
              <a:gd name="connsiteY455" fmla="*/ 829853 h 892175"/>
              <a:gd name="connsiteX456" fmla="*/ 670325 w 1292225"/>
              <a:gd name="connsiteY456" fmla="*/ 830568 h 892175"/>
              <a:gd name="connsiteX457" fmla="*/ 673897 w 1292225"/>
              <a:gd name="connsiteY457" fmla="*/ 831282 h 892175"/>
              <a:gd name="connsiteX458" fmla="*/ 676755 w 1292225"/>
              <a:gd name="connsiteY458" fmla="*/ 831282 h 892175"/>
              <a:gd name="connsiteX459" fmla="*/ 681042 w 1292225"/>
              <a:gd name="connsiteY459" fmla="*/ 831997 h 892175"/>
              <a:gd name="connsiteX460" fmla="*/ 686043 w 1292225"/>
              <a:gd name="connsiteY460" fmla="*/ 832712 h 892175"/>
              <a:gd name="connsiteX461" fmla="*/ 688187 w 1292225"/>
              <a:gd name="connsiteY461" fmla="*/ 832712 h 892175"/>
              <a:gd name="connsiteX462" fmla="*/ 691759 w 1292225"/>
              <a:gd name="connsiteY462" fmla="*/ 832712 h 892175"/>
              <a:gd name="connsiteX463" fmla="*/ 702476 w 1292225"/>
              <a:gd name="connsiteY463" fmla="*/ 833426 h 892175"/>
              <a:gd name="connsiteX464" fmla="*/ 712479 w 1292225"/>
              <a:gd name="connsiteY464" fmla="*/ 832712 h 892175"/>
              <a:gd name="connsiteX465" fmla="*/ 716051 w 1292225"/>
              <a:gd name="connsiteY465" fmla="*/ 832712 h 892175"/>
              <a:gd name="connsiteX466" fmla="*/ 717480 w 1292225"/>
              <a:gd name="connsiteY466" fmla="*/ 832712 h 892175"/>
              <a:gd name="connsiteX467" fmla="*/ 723196 w 1292225"/>
              <a:gd name="connsiteY467" fmla="*/ 831997 h 892175"/>
              <a:gd name="connsiteX468" fmla="*/ 726768 w 1292225"/>
              <a:gd name="connsiteY468" fmla="*/ 831282 h 892175"/>
              <a:gd name="connsiteX469" fmla="*/ 728911 w 1292225"/>
              <a:gd name="connsiteY469" fmla="*/ 831282 h 892175"/>
              <a:gd name="connsiteX470" fmla="*/ 733913 w 1292225"/>
              <a:gd name="connsiteY470" fmla="*/ 830568 h 892175"/>
              <a:gd name="connsiteX471" fmla="*/ 737485 w 1292225"/>
              <a:gd name="connsiteY471" fmla="*/ 829853 h 892175"/>
              <a:gd name="connsiteX472" fmla="*/ 739628 w 1292225"/>
              <a:gd name="connsiteY472" fmla="*/ 829853 h 892175"/>
              <a:gd name="connsiteX473" fmla="*/ 743915 w 1292225"/>
              <a:gd name="connsiteY473" fmla="*/ 829138 h 892175"/>
              <a:gd name="connsiteX474" fmla="*/ 748202 w 1292225"/>
              <a:gd name="connsiteY474" fmla="*/ 827709 h 892175"/>
              <a:gd name="connsiteX475" fmla="*/ 750345 w 1292225"/>
              <a:gd name="connsiteY475" fmla="*/ 827709 h 892175"/>
              <a:gd name="connsiteX476" fmla="*/ 753918 w 1292225"/>
              <a:gd name="connsiteY476" fmla="*/ 826994 h 892175"/>
              <a:gd name="connsiteX477" fmla="*/ 758919 w 1292225"/>
              <a:gd name="connsiteY477" fmla="*/ 825565 h 892175"/>
              <a:gd name="connsiteX478" fmla="*/ 760348 w 1292225"/>
              <a:gd name="connsiteY478" fmla="*/ 824850 h 892175"/>
              <a:gd name="connsiteX479" fmla="*/ 763920 w 1292225"/>
              <a:gd name="connsiteY479" fmla="*/ 824136 h 892175"/>
              <a:gd name="connsiteX480" fmla="*/ 769636 w 1292225"/>
              <a:gd name="connsiteY480" fmla="*/ 821992 h 892175"/>
              <a:gd name="connsiteX481" fmla="*/ 773208 w 1292225"/>
              <a:gd name="connsiteY481" fmla="*/ 820563 h 892175"/>
              <a:gd name="connsiteX482" fmla="*/ 778924 w 1292225"/>
              <a:gd name="connsiteY482" fmla="*/ 818419 h 892175"/>
              <a:gd name="connsiteX483" fmla="*/ 779639 w 1292225"/>
              <a:gd name="connsiteY483" fmla="*/ 818419 h 892175"/>
              <a:gd name="connsiteX484" fmla="*/ 782496 w 1292225"/>
              <a:gd name="connsiteY484" fmla="*/ 816989 h 892175"/>
              <a:gd name="connsiteX485" fmla="*/ 788927 w 1292225"/>
              <a:gd name="connsiteY485" fmla="*/ 814845 h 892175"/>
              <a:gd name="connsiteX486" fmla="*/ 791785 w 1292225"/>
              <a:gd name="connsiteY486" fmla="*/ 813416 h 892175"/>
              <a:gd name="connsiteX487" fmla="*/ 798215 w 1292225"/>
              <a:gd name="connsiteY487" fmla="*/ 810558 h 892175"/>
              <a:gd name="connsiteX488" fmla="*/ 800358 w 1292225"/>
              <a:gd name="connsiteY488" fmla="*/ 809128 h 892175"/>
              <a:gd name="connsiteX489" fmla="*/ 806788 w 1292225"/>
              <a:gd name="connsiteY489" fmla="*/ 805555 h 892175"/>
              <a:gd name="connsiteX490" fmla="*/ 808932 w 1292225"/>
              <a:gd name="connsiteY490" fmla="*/ 804126 h 892175"/>
              <a:gd name="connsiteX491" fmla="*/ 815362 w 1292225"/>
              <a:gd name="connsiteY491" fmla="*/ 800552 h 892175"/>
              <a:gd name="connsiteX492" fmla="*/ 817505 w 1292225"/>
              <a:gd name="connsiteY492" fmla="*/ 799123 h 892175"/>
              <a:gd name="connsiteX493" fmla="*/ 823936 w 1292225"/>
              <a:gd name="connsiteY493" fmla="*/ 794835 h 892175"/>
              <a:gd name="connsiteX494" fmla="*/ 825365 w 1292225"/>
              <a:gd name="connsiteY494" fmla="*/ 794121 h 892175"/>
              <a:gd name="connsiteX495" fmla="*/ 828937 w 1292225"/>
              <a:gd name="connsiteY495" fmla="*/ 791262 h 892175"/>
              <a:gd name="connsiteX496" fmla="*/ 833224 w 1292225"/>
              <a:gd name="connsiteY496" fmla="*/ 793406 h 892175"/>
              <a:gd name="connsiteX497" fmla="*/ 838939 w 1292225"/>
              <a:gd name="connsiteY497" fmla="*/ 795550 h 892175"/>
              <a:gd name="connsiteX498" fmla="*/ 841797 w 1292225"/>
              <a:gd name="connsiteY498" fmla="*/ 796979 h 892175"/>
              <a:gd name="connsiteX499" fmla="*/ 842512 w 1292225"/>
              <a:gd name="connsiteY499" fmla="*/ 797694 h 892175"/>
              <a:gd name="connsiteX500" fmla="*/ 846799 w 1292225"/>
              <a:gd name="connsiteY500" fmla="*/ 799123 h 892175"/>
              <a:gd name="connsiteX501" fmla="*/ 850371 w 1292225"/>
              <a:gd name="connsiteY501" fmla="*/ 800552 h 892175"/>
              <a:gd name="connsiteX502" fmla="*/ 855372 w 1292225"/>
              <a:gd name="connsiteY502" fmla="*/ 801982 h 892175"/>
              <a:gd name="connsiteX503" fmla="*/ 856087 w 1292225"/>
              <a:gd name="connsiteY503" fmla="*/ 801982 h 892175"/>
              <a:gd name="connsiteX504" fmla="*/ 858230 w 1292225"/>
              <a:gd name="connsiteY504" fmla="*/ 802696 h 892175"/>
              <a:gd name="connsiteX505" fmla="*/ 865375 w 1292225"/>
              <a:gd name="connsiteY505" fmla="*/ 804840 h 892175"/>
              <a:gd name="connsiteX506" fmla="*/ 868233 w 1292225"/>
              <a:gd name="connsiteY506" fmla="*/ 805555 h 892175"/>
              <a:gd name="connsiteX507" fmla="*/ 868233 w 1292225"/>
              <a:gd name="connsiteY507" fmla="*/ 806270 h 892175"/>
              <a:gd name="connsiteX508" fmla="*/ 873948 w 1292225"/>
              <a:gd name="connsiteY508" fmla="*/ 806984 h 892175"/>
              <a:gd name="connsiteX509" fmla="*/ 876806 w 1292225"/>
              <a:gd name="connsiteY509" fmla="*/ 807699 h 892175"/>
              <a:gd name="connsiteX510" fmla="*/ 883951 w 1292225"/>
              <a:gd name="connsiteY510" fmla="*/ 809128 h 892175"/>
              <a:gd name="connsiteX511" fmla="*/ 885380 w 1292225"/>
              <a:gd name="connsiteY511" fmla="*/ 809128 h 892175"/>
              <a:gd name="connsiteX512" fmla="*/ 893953 w 1292225"/>
              <a:gd name="connsiteY512" fmla="*/ 810558 h 892175"/>
              <a:gd name="connsiteX513" fmla="*/ 896811 w 1292225"/>
              <a:gd name="connsiteY513" fmla="*/ 810558 h 892175"/>
              <a:gd name="connsiteX514" fmla="*/ 903241 w 1292225"/>
              <a:gd name="connsiteY514" fmla="*/ 811272 h 892175"/>
              <a:gd name="connsiteX515" fmla="*/ 906099 w 1292225"/>
              <a:gd name="connsiteY515" fmla="*/ 811272 h 892175"/>
              <a:gd name="connsiteX516" fmla="*/ 913958 w 1292225"/>
              <a:gd name="connsiteY516" fmla="*/ 811272 h 892175"/>
              <a:gd name="connsiteX517" fmla="*/ 915387 w 1292225"/>
              <a:gd name="connsiteY517" fmla="*/ 811272 h 892175"/>
              <a:gd name="connsiteX518" fmla="*/ 923961 w 1292225"/>
              <a:gd name="connsiteY518" fmla="*/ 811272 h 892175"/>
              <a:gd name="connsiteX519" fmla="*/ 926819 w 1292225"/>
              <a:gd name="connsiteY519" fmla="*/ 811272 h 892175"/>
              <a:gd name="connsiteX520" fmla="*/ 928248 w 1292225"/>
              <a:gd name="connsiteY520" fmla="*/ 811272 h 892175"/>
              <a:gd name="connsiteX521" fmla="*/ 933964 w 1292225"/>
              <a:gd name="connsiteY521" fmla="*/ 810558 h 892175"/>
              <a:gd name="connsiteX522" fmla="*/ 936821 w 1292225"/>
              <a:gd name="connsiteY522" fmla="*/ 810558 h 892175"/>
              <a:gd name="connsiteX523" fmla="*/ 938250 w 1292225"/>
              <a:gd name="connsiteY523" fmla="*/ 809843 h 892175"/>
              <a:gd name="connsiteX524" fmla="*/ 943252 w 1292225"/>
              <a:gd name="connsiteY524" fmla="*/ 809128 h 892175"/>
              <a:gd name="connsiteX525" fmla="*/ 946824 w 1292225"/>
              <a:gd name="connsiteY525" fmla="*/ 809128 h 892175"/>
              <a:gd name="connsiteX526" fmla="*/ 948253 w 1292225"/>
              <a:gd name="connsiteY526" fmla="*/ 808414 h 892175"/>
              <a:gd name="connsiteX527" fmla="*/ 952540 w 1292225"/>
              <a:gd name="connsiteY527" fmla="*/ 807699 h 892175"/>
              <a:gd name="connsiteX528" fmla="*/ 956112 w 1292225"/>
              <a:gd name="connsiteY528" fmla="*/ 806984 h 892175"/>
              <a:gd name="connsiteX529" fmla="*/ 956827 w 1292225"/>
              <a:gd name="connsiteY529" fmla="*/ 806984 h 892175"/>
              <a:gd name="connsiteX530" fmla="*/ 961828 w 1292225"/>
              <a:gd name="connsiteY530" fmla="*/ 805555 h 892175"/>
              <a:gd name="connsiteX531" fmla="*/ 965400 w 1292225"/>
              <a:gd name="connsiteY531" fmla="*/ 804840 h 892175"/>
              <a:gd name="connsiteX532" fmla="*/ 970401 w 1292225"/>
              <a:gd name="connsiteY532" fmla="*/ 803411 h 892175"/>
              <a:gd name="connsiteX533" fmla="*/ 974688 w 1292225"/>
              <a:gd name="connsiteY533" fmla="*/ 801982 h 892175"/>
              <a:gd name="connsiteX534" fmla="*/ 979689 w 1292225"/>
              <a:gd name="connsiteY534" fmla="*/ 800552 h 892175"/>
              <a:gd name="connsiteX535" fmla="*/ 983262 w 1292225"/>
              <a:gd name="connsiteY535" fmla="*/ 799123 h 892175"/>
              <a:gd name="connsiteX536" fmla="*/ 988263 w 1292225"/>
              <a:gd name="connsiteY536" fmla="*/ 796979 h 892175"/>
              <a:gd name="connsiteX537" fmla="*/ 991835 w 1292225"/>
              <a:gd name="connsiteY537" fmla="*/ 795550 h 892175"/>
              <a:gd name="connsiteX538" fmla="*/ 996837 w 1292225"/>
              <a:gd name="connsiteY538" fmla="*/ 793406 h 892175"/>
              <a:gd name="connsiteX539" fmla="*/ 1000409 w 1292225"/>
              <a:gd name="connsiteY539" fmla="*/ 791977 h 892175"/>
              <a:gd name="connsiteX540" fmla="*/ 1004696 w 1292225"/>
              <a:gd name="connsiteY540" fmla="*/ 789118 h 892175"/>
              <a:gd name="connsiteX541" fmla="*/ 1008268 w 1292225"/>
              <a:gd name="connsiteY541" fmla="*/ 787689 h 892175"/>
              <a:gd name="connsiteX542" fmla="*/ 1012555 w 1292225"/>
              <a:gd name="connsiteY542" fmla="*/ 784830 h 892175"/>
              <a:gd name="connsiteX543" fmla="*/ 1013269 w 1292225"/>
              <a:gd name="connsiteY543" fmla="*/ 784830 h 892175"/>
              <a:gd name="connsiteX544" fmla="*/ 1016127 w 1292225"/>
              <a:gd name="connsiteY544" fmla="*/ 782686 h 892175"/>
              <a:gd name="connsiteX545" fmla="*/ 1020414 w 1292225"/>
              <a:gd name="connsiteY545" fmla="*/ 780542 h 892175"/>
              <a:gd name="connsiteX546" fmla="*/ 1021129 w 1292225"/>
              <a:gd name="connsiteY546" fmla="*/ 779828 h 892175"/>
              <a:gd name="connsiteX547" fmla="*/ 1023986 w 1292225"/>
              <a:gd name="connsiteY547" fmla="*/ 777684 h 892175"/>
              <a:gd name="connsiteX548" fmla="*/ 1027559 w 1292225"/>
              <a:gd name="connsiteY548" fmla="*/ 775540 h 892175"/>
              <a:gd name="connsiteX549" fmla="*/ 1028988 w 1292225"/>
              <a:gd name="connsiteY549" fmla="*/ 774110 h 892175"/>
              <a:gd name="connsiteX550" fmla="*/ 1031131 w 1292225"/>
              <a:gd name="connsiteY550" fmla="*/ 772681 h 892175"/>
              <a:gd name="connsiteX551" fmla="*/ 1035418 w 1292225"/>
              <a:gd name="connsiteY551" fmla="*/ 769108 h 892175"/>
              <a:gd name="connsiteX552" fmla="*/ 1056138 w 1292225"/>
              <a:gd name="connsiteY552" fmla="*/ 769108 h 892175"/>
              <a:gd name="connsiteX553" fmla="*/ 1254045 w 1292225"/>
              <a:gd name="connsiteY553" fmla="*/ 617603 h 892175"/>
              <a:gd name="connsiteX554" fmla="*/ 1256188 w 1292225"/>
              <a:gd name="connsiteY554" fmla="*/ 607598 h 892175"/>
              <a:gd name="connsiteX555" fmla="*/ 1260475 w 1292225"/>
              <a:gd name="connsiteY555" fmla="*/ 576868 h 892175"/>
              <a:gd name="connsiteX556" fmla="*/ 1260475 w 1292225"/>
              <a:gd name="connsiteY556" fmla="*/ 566863 h 892175"/>
              <a:gd name="connsiteX557" fmla="*/ 1255474 w 1292225"/>
              <a:gd name="connsiteY557" fmla="*/ 521840 h 892175"/>
              <a:gd name="connsiteX558" fmla="*/ 1234754 w 1292225"/>
              <a:gd name="connsiteY558" fmla="*/ 468241 h 892175"/>
              <a:gd name="connsiteX559" fmla="*/ 1216893 w 1292225"/>
              <a:gd name="connsiteY559" fmla="*/ 441799 h 892175"/>
              <a:gd name="connsiteX560" fmla="*/ 1198317 w 1292225"/>
              <a:gd name="connsiteY560" fmla="*/ 421074 h 892175"/>
              <a:gd name="connsiteX561" fmla="*/ 1190457 w 1292225"/>
              <a:gd name="connsiteY561" fmla="*/ 413928 h 892175"/>
              <a:gd name="connsiteX562" fmla="*/ 1177597 w 1292225"/>
              <a:gd name="connsiteY562" fmla="*/ 403208 h 892175"/>
              <a:gd name="connsiteX563" fmla="*/ 1161879 w 1292225"/>
              <a:gd name="connsiteY563" fmla="*/ 393203 h 892175"/>
              <a:gd name="connsiteX564" fmla="*/ 1159021 w 1292225"/>
              <a:gd name="connsiteY564" fmla="*/ 391774 h 892175"/>
              <a:gd name="connsiteX565" fmla="*/ 1145446 w 1292225"/>
              <a:gd name="connsiteY565" fmla="*/ 384627 h 892175"/>
              <a:gd name="connsiteX566" fmla="*/ 1144017 w 1292225"/>
              <a:gd name="connsiteY566" fmla="*/ 383913 h 892175"/>
              <a:gd name="connsiteX567" fmla="*/ 1109723 w 1292225"/>
              <a:gd name="connsiteY567" fmla="*/ 371049 h 892175"/>
              <a:gd name="connsiteX568" fmla="*/ 974688 w 1292225"/>
              <a:gd name="connsiteY568" fmla="*/ 281718 h 892175"/>
              <a:gd name="connsiteX569" fmla="*/ 916102 w 1292225"/>
              <a:gd name="connsiteY569" fmla="*/ 166660 h 892175"/>
              <a:gd name="connsiteX570" fmla="*/ 771779 w 1292225"/>
              <a:gd name="connsiteY570" fmla="*/ 107344 h 892175"/>
              <a:gd name="connsiteX571" fmla="*/ 687472 w 1292225"/>
              <a:gd name="connsiteY571" fmla="*/ 125925 h 892175"/>
              <a:gd name="connsiteX572" fmla="*/ 479562 w 1292225"/>
              <a:gd name="connsiteY572" fmla="*/ 30162 h 892175"/>
              <a:gd name="connsiteX573" fmla="*/ 480479 w 1292225"/>
              <a:gd name="connsiteY573" fmla="*/ 0 h 892175"/>
              <a:gd name="connsiteX574" fmla="*/ 696088 w 1292225"/>
              <a:gd name="connsiteY574" fmla="*/ 89788 h 892175"/>
              <a:gd name="connsiteX575" fmla="*/ 772479 w 1292225"/>
              <a:gd name="connsiteY575" fmla="*/ 76961 h 892175"/>
              <a:gd name="connsiteX576" fmla="*/ 938113 w 1292225"/>
              <a:gd name="connsiteY576" fmla="*/ 145371 h 892175"/>
              <a:gd name="connsiteX577" fmla="*/ 1001653 w 1292225"/>
              <a:gd name="connsiteY577" fmla="*/ 255111 h 892175"/>
              <a:gd name="connsiteX578" fmla="*/ 1130876 w 1292225"/>
              <a:gd name="connsiteY578" fmla="*/ 344898 h 892175"/>
              <a:gd name="connsiteX579" fmla="*/ 1157291 w 1292225"/>
              <a:gd name="connsiteY579" fmla="*/ 355587 h 892175"/>
              <a:gd name="connsiteX580" fmla="*/ 1159433 w 1292225"/>
              <a:gd name="connsiteY580" fmla="*/ 356300 h 892175"/>
              <a:gd name="connsiteX581" fmla="*/ 1175140 w 1292225"/>
              <a:gd name="connsiteY581" fmla="*/ 364851 h 892175"/>
              <a:gd name="connsiteX582" fmla="*/ 1177995 w 1292225"/>
              <a:gd name="connsiteY582" fmla="*/ 366276 h 892175"/>
              <a:gd name="connsiteX583" fmla="*/ 1196558 w 1292225"/>
              <a:gd name="connsiteY583" fmla="*/ 378391 h 892175"/>
              <a:gd name="connsiteX584" fmla="*/ 1211550 w 1292225"/>
              <a:gd name="connsiteY584" fmla="*/ 390505 h 892175"/>
              <a:gd name="connsiteX585" fmla="*/ 1220118 w 1292225"/>
              <a:gd name="connsiteY585" fmla="*/ 398343 h 892175"/>
              <a:gd name="connsiteX586" fmla="*/ 1242250 w 1292225"/>
              <a:gd name="connsiteY586" fmla="*/ 422572 h 892175"/>
              <a:gd name="connsiteX587" fmla="*/ 1262954 w 1292225"/>
              <a:gd name="connsiteY587" fmla="*/ 453214 h 892175"/>
              <a:gd name="connsiteX588" fmla="*/ 1286514 w 1292225"/>
              <a:gd name="connsiteY588" fmla="*/ 514497 h 892175"/>
              <a:gd name="connsiteX589" fmla="*/ 1292225 w 1292225"/>
              <a:gd name="connsiteY589" fmla="*/ 566517 h 892175"/>
              <a:gd name="connsiteX590" fmla="*/ 1292225 w 1292225"/>
              <a:gd name="connsiteY590" fmla="*/ 578631 h 892175"/>
              <a:gd name="connsiteX591" fmla="*/ 1287228 w 1292225"/>
              <a:gd name="connsiteY591" fmla="*/ 613549 h 892175"/>
              <a:gd name="connsiteX592" fmla="*/ 1285086 w 1292225"/>
              <a:gd name="connsiteY592" fmla="*/ 624950 h 892175"/>
              <a:gd name="connsiteX593" fmla="*/ 1056626 w 1292225"/>
              <a:gd name="connsiteY593" fmla="*/ 799537 h 892175"/>
              <a:gd name="connsiteX594" fmla="*/ 1046631 w 1292225"/>
              <a:gd name="connsiteY594" fmla="*/ 799537 h 892175"/>
              <a:gd name="connsiteX595" fmla="*/ 1042347 w 1292225"/>
              <a:gd name="connsiteY595" fmla="*/ 803100 h 892175"/>
              <a:gd name="connsiteX596" fmla="*/ 1038778 w 1292225"/>
              <a:gd name="connsiteY596" fmla="*/ 805238 h 892175"/>
              <a:gd name="connsiteX597" fmla="*/ 1038064 w 1292225"/>
              <a:gd name="connsiteY597" fmla="*/ 805951 h 892175"/>
              <a:gd name="connsiteX598" fmla="*/ 1033066 w 1292225"/>
              <a:gd name="connsiteY598" fmla="*/ 808801 h 892175"/>
              <a:gd name="connsiteX599" fmla="*/ 1029497 w 1292225"/>
              <a:gd name="connsiteY599" fmla="*/ 810939 h 892175"/>
              <a:gd name="connsiteX600" fmla="*/ 1028783 w 1292225"/>
              <a:gd name="connsiteY600" fmla="*/ 810939 h 892175"/>
              <a:gd name="connsiteX601" fmla="*/ 1024499 w 1292225"/>
              <a:gd name="connsiteY601" fmla="*/ 813789 h 892175"/>
              <a:gd name="connsiteX602" fmla="*/ 1020215 w 1292225"/>
              <a:gd name="connsiteY602" fmla="*/ 815927 h 892175"/>
              <a:gd name="connsiteX603" fmla="*/ 1019501 w 1292225"/>
              <a:gd name="connsiteY603" fmla="*/ 815927 h 892175"/>
              <a:gd name="connsiteX604" fmla="*/ 1014504 w 1292225"/>
              <a:gd name="connsiteY604" fmla="*/ 818777 h 892175"/>
              <a:gd name="connsiteX605" fmla="*/ 1010220 w 1292225"/>
              <a:gd name="connsiteY605" fmla="*/ 820915 h 892175"/>
              <a:gd name="connsiteX606" fmla="*/ 1005223 w 1292225"/>
              <a:gd name="connsiteY606" fmla="*/ 823053 h 892175"/>
              <a:gd name="connsiteX607" fmla="*/ 1000225 w 1292225"/>
              <a:gd name="connsiteY607" fmla="*/ 825191 h 892175"/>
              <a:gd name="connsiteX608" fmla="*/ 995228 w 1292225"/>
              <a:gd name="connsiteY608" fmla="*/ 827329 h 892175"/>
              <a:gd name="connsiteX609" fmla="*/ 990230 w 1292225"/>
              <a:gd name="connsiteY609" fmla="*/ 828754 h 892175"/>
              <a:gd name="connsiteX610" fmla="*/ 985233 w 1292225"/>
              <a:gd name="connsiteY610" fmla="*/ 830892 h 892175"/>
              <a:gd name="connsiteX611" fmla="*/ 980235 w 1292225"/>
              <a:gd name="connsiteY611" fmla="*/ 832317 h 892175"/>
              <a:gd name="connsiteX612" fmla="*/ 974523 w 1292225"/>
              <a:gd name="connsiteY612" fmla="*/ 833742 h 892175"/>
              <a:gd name="connsiteX613" fmla="*/ 970240 w 1292225"/>
              <a:gd name="connsiteY613" fmla="*/ 835167 h 892175"/>
              <a:gd name="connsiteX614" fmla="*/ 963814 w 1292225"/>
              <a:gd name="connsiteY614" fmla="*/ 836592 h 892175"/>
              <a:gd name="connsiteX615" fmla="*/ 963101 w 1292225"/>
              <a:gd name="connsiteY615" fmla="*/ 836592 h 892175"/>
              <a:gd name="connsiteX616" fmla="*/ 959531 w 1292225"/>
              <a:gd name="connsiteY616" fmla="*/ 837305 h 892175"/>
              <a:gd name="connsiteX617" fmla="*/ 953819 w 1292225"/>
              <a:gd name="connsiteY617" fmla="*/ 838730 h 892175"/>
              <a:gd name="connsiteX618" fmla="*/ 952391 w 1292225"/>
              <a:gd name="connsiteY618" fmla="*/ 838730 h 892175"/>
              <a:gd name="connsiteX619" fmla="*/ 948108 w 1292225"/>
              <a:gd name="connsiteY619" fmla="*/ 839443 h 892175"/>
              <a:gd name="connsiteX620" fmla="*/ 942396 w 1292225"/>
              <a:gd name="connsiteY620" fmla="*/ 840155 h 892175"/>
              <a:gd name="connsiteX621" fmla="*/ 941682 w 1292225"/>
              <a:gd name="connsiteY621" fmla="*/ 840155 h 892175"/>
              <a:gd name="connsiteX622" fmla="*/ 937399 w 1292225"/>
              <a:gd name="connsiteY622" fmla="*/ 840868 h 892175"/>
              <a:gd name="connsiteX623" fmla="*/ 930973 w 1292225"/>
              <a:gd name="connsiteY623" fmla="*/ 841581 h 892175"/>
              <a:gd name="connsiteX624" fmla="*/ 930259 w 1292225"/>
              <a:gd name="connsiteY624" fmla="*/ 841581 h 892175"/>
              <a:gd name="connsiteX625" fmla="*/ 926690 w 1292225"/>
              <a:gd name="connsiteY625" fmla="*/ 841581 h 892175"/>
              <a:gd name="connsiteX626" fmla="*/ 915981 w 1292225"/>
              <a:gd name="connsiteY626" fmla="*/ 841581 h 892175"/>
              <a:gd name="connsiteX627" fmla="*/ 914553 w 1292225"/>
              <a:gd name="connsiteY627" fmla="*/ 841581 h 892175"/>
              <a:gd name="connsiteX628" fmla="*/ 905272 w 1292225"/>
              <a:gd name="connsiteY628" fmla="*/ 841581 h 892175"/>
              <a:gd name="connsiteX629" fmla="*/ 901702 w 1292225"/>
              <a:gd name="connsiteY629" fmla="*/ 841581 h 892175"/>
              <a:gd name="connsiteX630" fmla="*/ 894563 w 1292225"/>
              <a:gd name="connsiteY630" fmla="*/ 840868 h 892175"/>
              <a:gd name="connsiteX631" fmla="*/ 890993 w 1292225"/>
              <a:gd name="connsiteY631" fmla="*/ 840868 h 892175"/>
              <a:gd name="connsiteX632" fmla="*/ 880998 w 1292225"/>
              <a:gd name="connsiteY632" fmla="*/ 839443 h 892175"/>
              <a:gd name="connsiteX633" fmla="*/ 879570 w 1292225"/>
              <a:gd name="connsiteY633" fmla="*/ 838730 h 892175"/>
              <a:gd name="connsiteX634" fmla="*/ 871717 w 1292225"/>
              <a:gd name="connsiteY634" fmla="*/ 837305 h 892175"/>
              <a:gd name="connsiteX635" fmla="*/ 868861 w 1292225"/>
              <a:gd name="connsiteY635" fmla="*/ 837305 h 892175"/>
              <a:gd name="connsiteX636" fmla="*/ 868147 w 1292225"/>
              <a:gd name="connsiteY636" fmla="*/ 836592 h 892175"/>
              <a:gd name="connsiteX637" fmla="*/ 862435 w 1292225"/>
              <a:gd name="connsiteY637" fmla="*/ 835167 h 892175"/>
              <a:gd name="connsiteX638" fmla="*/ 861722 w 1292225"/>
              <a:gd name="connsiteY638" fmla="*/ 835167 h 892175"/>
              <a:gd name="connsiteX639" fmla="*/ 858866 w 1292225"/>
              <a:gd name="connsiteY639" fmla="*/ 834455 h 892175"/>
              <a:gd name="connsiteX640" fmla="*/ 849585 w 1292225"/>
              <a:gd name="connsiteY640" fmla="*/ 832317 h 892175"/>
              <a:gd name="connsiteX641" fmla="*/ 846729 w 1292225"/>
              <a:gd name="connsiteY641" fmla="*/ 830892 h 892175"/>
              <a:gd name="connsiteX642" fmla="*/ 846015 w 1292225"/>
              <a:gd name="connsiteY642" fmla="*/ 830892 h 892175"/>
              <a:gd name="connsiteX643" fmla="*/ 840303 w 1292225"/>
              <a:gd name="connsiteY643" fmla="*/ 828754 h 892175"/>
              <a:gd name="connsiteX644" fmla="*/ 836020 w 1292225"/>
              <a:gd name="connsiteY644" fmla="*/ 827329 h 892175"/>
              <a:gd name="connsiteX645" fmla="*/ 832450 w 1292225"/>
              <a:gd name="connsiteY645" fmla="*/ 825903 h 892175"/>
              <a:gd name="connsiteX646" fmla="*/ 825311 w 1292225"/>
              <a:gd name="connsiteY646" fmla="*/ 830179 h 892175"/>
              <a:gd name="connsiteX647" fmla="*/ 823169 w 1292225"/>
              <a:gd name="connsiteY647" fmla="*/ 831604 h 892175"/>
              <a:gd name="connsiteX648" fmla="*/ 815316 w 1292225"/>
              <a:gd name="connsiteY648" fmla="*/ 835880 h 892175"/>
              <a:gd name="connsiteX649" fmla="*/ 813174 w 1292225"/>
              <a:gd name="connsiteY649" fmla="*/ 837305 h 892175"/>
              <a:gd name="connsiteX650" fmla="*/ 805321 w 1292225"/>
              <a:gd name="connsiteY650" fmla="*/ 840868 h 892175"/>
              <a:gd name="connsiteX651" fmla="*/ 802465 w 1292225"/>
              <a:gd name="connsiteY651" fmla="*/ 842293 h 892175"/>
              <a:gd name="connsiteX652" fmla="*/ 795325 w 1292225"/>
              <a:gd name="connsiteY652" fmla="*/ 845144 h 892175"/>
              <a:gd name="connsiteX653" fmla="*/ 791756 w 1292225"/>
              <a:gd name="connsiteY653" fmla="*/ 846569 h 892175"/>
              <a:gd name="connsiteX654" fmla="*/ 791042 w 1292225"/>
              <a:gd name="connsiteY654" fmla="*/ 846569 h 892175"/>
              <a:gd name="connsiteX655" fmla="*/ 784616 w 1292225"/>
              <a:gd name="connsiteY655" fmla="*/ 849419 h 892175"/>
              <a:gd name="connsiteX656" fmla="*/ 780333 w 1292225"/>
              <a:gd name="connsiteY656" fmla="*/ 850844 h 892175"/>
              <a:gd name="connsiteX657" fmla="*/ 773193 w 1292225"/>
              <a:gd name="connsiteY657" fmla="*/ 852982 h 892175"/>
              <a:gd name="connsiteX658" fmla="*/ 769624 w 1292225"/>
              <a:gd name="connsiteY658" fmla="*/ 854407 h 892175"/>
              <a:gd name="connsiteX659" fmla="*/ 768196 w 1292225"/>
              <a:gd name="connsiteY659" fmla="*/ 854407 h 892175"/>
              <a:gd name="connsiteX660" fmla="*/ 762484 w 1292225"/>
              <a:gd name="connsiteY660" fmla="*/ 855833 h 892175"/>
              <a:gd name="connsiteX661" fmla="*/ 758201 w 1292225"/>
              <a:gd name="connsiteY661" fmla="*/ 857258 h 892175"/>
              <a:gd name="connsiteX662" fmla="*/ 756059 w 1292225"/>
              <a:gd name="connsiteY662" fmla="*/ 857258 h 892175"/>
              <a:gd name="connsiteX663" fmla="*/ 751061 w 1292225"/>
              <a:gd name="connsiteY663" fmla="*/ 858683 h 892175"/>
              <a:gd name="connsiteX664" fmla="*/ 746064 w 1292225"/>
              <a:gd name="connsiteY664" fmla="*/ 859396 h 892175"/>
              <a:gd name="connsiteX665" fmla="*/ 743922 w 1292225"/>
              <a:gd name="connsiteY665" fmla="*/ 860108 h 892175"/>
              <a:gd name="connsiteX666" fmla="*/ 738924 w 1292225"/>
              <a:gd name="connsiteY666" fmla="*/ 860821 h 892175"/>
              <a:gd name="connsiteX667" fmla="*/ 733927 w 1292225"/>
              <a:gd name="connsiteY667" fmla="*/ 861533 h 892175"/>
              <a:gd name="connsiteX668" fmla="*/ 731785 w 1292225"/>
              <a:gd name="connsiteY668" fmla="*/ 861533 h 892175"/>
              <a:gd name="connsiteX669" fmla="*/ 727501 w 1292225"/>
              <a:gd name="connsiteY669" fmla="*/ 862246 h 892175"/>
              <a:gd name="connsiteX670" fmla="*/ 720362 w 1292225"/>
              <a:gd name="connsiteY670" fmla="*/ 862959 h 892175"/>
              <a:gd name="connsiteX671" fmla="*/ 718934 w 1292225"/>
              <a:gd name="connsiteY671" fmla="*/ 862959 h 892175"/>
              <a:gd name="connsiteX672" fmla="*/ 715365 w 1292225"/>
              <a:gd name="connsiteY672" fmla="*/ 862959 h 892175"/>
              <a:gd name="connsiteX673" fmla="*/ 703228 w 1292225"/>
              <a:gd name="connsiteY673" fmla="*/ 863671 h 892175"/>
              <a:gd name="connsiteX674" fmla="*/ 690377 w 1292225"/>
              <a:gd name="connsiteY674" fmla="*/ 862959 h 892175"/>
              <a:gd name="connsiteX675" fmla="*/ 686807 w 1292225"/>
              <a:gd name="connsiteY675" fmla="*/ 862959 h 892175"/>
              <a:gd name="connsiteX676" fmla="*/ 684665 w 1292225"/>
              <a:gd name="connsiteY676" fmla="*/ 862246 h 892175"/>
              <a:gd name="connsiteX677" fmla="*/ 678240 w 1292225"/>
              <a:gd name="connsiteY677" fmla="*/ 862246 h 892175"/>
              <a:gd name="connsiteX678" fmla="*/ 673242 w 1292225"/>
              <a:gd name="connsiteY678" fmla="*/ 861533 h 892175"/>
              <a:gd name="connsiteX679" fmla="*/ 671100 w 1292225"/>
              <a:gd name="connsiteY679" fmla="*/ 861533 h 892175"/>
              <a:gd name="connsiteX680" fmla="*/ 666103 w 1292225"/>
              <a:gd name="connsiteY680" fmla="*/ 860821 h 892175"/>
              <a:gd name="connsiteX681" fmla="*/ 660391 w 1292225"/>
              <a:gd name="connsiteY681" fmla="*/ 859396 h 892175"/>
              <a:gd name="connsiteX682" fmla="*/ 658250 w 1292225"/>
              <a:gd name="connsiteY682" fmla="*/ 859396 h 892175"/>
              <a:gd name="connsiteX683" fmla="*/ 654680 w 1292225"/>
              <a:gd name="connsiteY683" fmla="*/ 858683 h 892175"/>
              <a:gd name="connsiteX684" fmla="*/ 647541 w 1292225"/>
              <a:gd name="connsiteY684" fmla="*/ 856545 h 892175"/>
              <a:gd name="connsiteX685" fmla="*/ 646113 w 1292225"/>
              <a:gd name="connsiteY685" fmla="*/ 856545 h 892175"/>
              <a:gd name="connsiteX686" fmla="*/ 642543 w 1292225"/>
              <a:gd name="connsiteY686" fmla="*/ 855833 h 892175"/>
              <a:gd name="connsiteX687" fmla="*/ 634690 w 1292225"/>
              <a:gd name="connsiteY687" fmla="*/ 853695 h 892175"/>
              <a:gd name="connsiteX688" fmla="*/ 631834 w 1292225"/>
              <a:gd name="connsiteY688" fmla="*/ 852982 h 892175"/>
              <a:gd name="connsiteX689" fmla="*/ 623267 w 1292225"/>
              <a:gd name="connsiteY689" fmla="*/ 850132 h 892175"/>
              <a:gd name="connsiteX690" fmla="*/ 620411 w 1292225"/>
              <a:gd name="connsiteY690" fmla="*/ 848707 h 892175"/>
              <a:gd name="connsiteX691" fmla="*/ 611130 w 1292225"/>
              <a:gd name="connsiteY691" fmla="*/ 845856 h 892175"/>
              <a:gd name="connsiteX692" fmla="*/ 609702 w 1292225"/>
              <a:gd name="connsiteY692" fmla="*/ 844431 h 892175"/>
              <a:gd name="connsiteX693" fmla="*/ 600421 w 1292225"/>
              <a:gd name="connsiteY693" fmla="*/ 840868 h 892175"/>
              <a:gd name="connsiteX694" fmla="*/ 598993 w 1292225"/>
              <a:gd name="connsiteY694" fmla="*/ 840155 h 892175"/>
              <a:gd name="connsiteX695" fmla="*/ 589712 w 1292225"/>
              <a:gd name="connsiteY695" fmla="*/ 835167 h 892175"/>
              <a:gd name="connsiteX696" fmla="*/ 588998 w 1292225"/>
              <a:gd name="connsiteY696" fmla="*/ 835167 h 892175"/>
              <a:gd name="connsiteX697" fmla="*/ 588284 w 1292225"/>
              <a:gd name="connsiteY697" fmla="*/ 834455 h 892175"/>
              <a:gd name="connsiteX698" fmla="*/ 581858 w 1292225"/>
              <a:gd name="connsiteY698" fmla="*/ 830892 h 892175"/>
              <a:gd name="connsiteX699" fmla="*/ 574005 w 1292225"/>
              <a:gd name="connsiteY699" fmla="*/ 836592 h 892175"/>
              <a:gd name="connsiteX700" fmla="*/ 571149 w 1292225"/>
              <a:gd name="connsiteY700" fmla="*/ 838730 h 892175"/>
              <a:gd name="connsiteX701" fmla="*/ 561868 w 1292225"/>
              <a:gd name="connsiteY701" fmla="*/ 845144 h 892175"/>
              <a:gd name="connsiteX702" fmla="*/ 558299 w 1292225"/>
              <a:gd name="connsiteY702" fmla="*/ 847281 h 892175"/>
              <a:gd name="connsiteX703" fmla="*/ 549731 w 1292225"/>
              <a:gd name="connsiteY703" fmla="*/ 852270 h 892175"/>
              <a:gd name="connsiteX704" fmla="*/ 545448 w 1292225"/>
              <a:gd name="connsiteY704" fmla="*/ 855120 h 892175"/>
              <a:gd name="connsiteX705" fmla="*/ 539022 w 1292225"/>
              <a:gd name="connsiteY705" fmla="*/ 858683 h 892175"/>
              <a:gd name="connsiteX706" fmla="*/ 531883 w 1292225"/>
              <a:gd name="connsiteY706" fmla="*/ 862246 h 892175"/>
              <a:gd name="connsiteX707" fmla="*/ 526885 w 1292225"/>
              <a:gd name="connsiteY707" fmla="*/ 864384 h 892175"/>
              <a:gd name="connsiteX708" fmla="*/ 518318 w 1292225"/>
              <a:gd name="connsiteY708" fmla="*/ 868659 h 892175"/>
              <a:gd name="connsiteX709" fmla="*/ 514034 w 1292225"/>
              <a:gd name="connsiteY709" fmla="*/ 870085 h 892175"/>
              <a:gd name="connsiteX710" fmla="*/ 504039 w 1292225"/>
              <a:gd name="connsiteY710" fmla="*/ 874360 h 892175"/>
              <a:gd name="connsiteX711" fmla="*/ 501184 w 1292225"/>
              <a:gd name="connsiteY711" fmla="*/ 875073 h 892175"/>
              <a:gd name="connsiteX712" fmla="*/ 500470 w 1292225"/>
              <a:gd name="connsiteY712" fmla="*/ 875785 h 892175"/>
              <a:gd name="connsiteX713" fmla="*/ 490475 w 1292225"/>
              <a:gd name="connsiteY713" fmla="*/ 878636 h 892175"/>
              <a:gd name="connsiteX714" fmla="*/ 486905 w 1292225"/>
              <a:gd name="connsiteY714" fmla="*/ 880061 h 892175"/>
              <a:gd name="connsiteX715" fmla="*/ 476910 w 1292225"/>
              <a:gd name="connsiteY715" fmla="*/ 882911 h 892175"/>
              <a:gd name="connsiteX716" fmla="*/ 474768 w 1292225"/>
              <a:gd name="connsiteY716" fmla="*/ 883624 h 892175"/>
              <a:gd name="connsiteX717" fmla="*/ 462631 w 1292225"/>
              <a:gd name="connsiteY717" fmla="*/ 886474 h 892175"/>
              <a:gd name="connsiteX718" fmla="*/ 459775 w 1292225"/>
              <a:gd name="connsiteY718" fmla="*/ 886474 h 892175"/>
              <a:gd name="connsiteX719" fmla="*/ 447638 w 1292225"/>
              <a:gd name="connsiteY719" fmla="*/ 888612 h 892175"/>
              <a:gd name="connsiteX720" fmla="*/ 445497 w 1292225"/>
              <a:gd name="connsiteY720" fmla="*/ 889325 h 892175"/>
              <a:gd name="connsiteX721" fmla="*/ 432646 w 1292225"/>
              <a:gd name="connsiteY721" fmla="*/ 890750 h 892175"/>
              <a:gd name="connsiteX722" fmla="*/ 430504 w 1292225"/>
              <a:gd name="connsiteY722" fmla="*/ 890750 h 892175"/>
              <a:gd name="connsiteX723" fmla="*/ 417653 w 1292225"/>
              <a:gd name="connsiteY723" fmla="*/ 892175 h 892175"/>
              <a:gd name="connsiteX724" fmla="*/ 416939 w 1292225"/>
              <a:gd name="connsiteY724" fmla="*/ 892175 h 892175"/>
              <a:gd name="connsiteX725" fmla="*/ 402660 w 1292225"/>
              <a:gd name="connsiteY725" fmla="*/ 892175 h 892175"/>
              <a:gd name="connsiteX726" fmla="*/ 389096 w 1292225"/>
              <a:gd name="connsiteY726" fmla="*/ 892175 h 892175"/>
              <a:gd name="connsiteX727" fmla="*/ 388382 w 1292225"/>
              <a:gd name="connsiteY727" fmla="*/ 892175 h 892175"/>
              <a:gd name="connsiteX728" fmla="*/ 386240 w 1292225"/>
              <a:gd name="connsiteY728" fmla="*/ 892175 h 892175"/>
              <a:gd name="connsiteX729" fmla="*/ 373389 w 1292225"/>
              <a:gd name="connsiteY729" fmla="*/ 890750 h 892175"/>
              <a:gd name="connsiteX730" fmla="*/ 372675 w 1292225"/>
              <a:gd name="connsiteY730" fmla="*/ 890750 h 892175"/>
              <a:gd name="connsiteX731" fmla="*/ 371247 w 1292225"/>
              <a:gd name="connsiteY731" fmla="*/ 890750 h 892175"/>
              <a:gd name="connsiteX732" fmla="*/ 359110 w 1292225"/>
              <a:gd name="connsiteY732" fmla="*/ 889325 h 892175"/>
              <a:gd name="connsiteX733" fmla="*/ 357682 w 1292225"/>
              <a:gd name="connsiteY733" fmla="*/ 889325 h 892175"/>
              <a:gd name="connsiteX734" fmla="*/ 356968 w 1292225"/>
              <a:gd name="connsiteY734" fmla="*/ 889325 h 892175"/>
              <a:gd name="connsiteX735" fmla="*/ 344118 w 1292225"/>
              <a:gd name="connsiteY735" fmla="*/ 886474 h 892175"/>
              <a:gd name="connsiteX736" fmla="*/ 341976 w 1292225"/>
              <a:gd name="connsiteY736" fmla="*/ 886474 h 892175"/>
              <a:gd name="connsiteX737" fmla="*/ 329839 w 1292225"/>
              <a:gd name="connsiteY737" fmla="*/ 883624 h 892175"/>
              <a:gd name="connsiteX738" fmla="*/ 328411 w 1292225"/>
              <a:gd name="connsiteY738" fmla="*/ 882911 h 892175"/>
              <a:gd name="connsiteX739" fmla="*/ 316274 w 1292225"/>
              <a:gd name="connsiteY739" fmla="*/ 880061 h 892175"/>
              <a:gd name="connsiteX740" fmla="*/ 314132 w 1292225"/>
              <a:gd name="connsiteY740" fmla="*/ 878636 h 892175"/>
              <a:gd name="connsiteX741" fmla="*/ 301995 w 1292225"/>
              <a:gd name="connsiteY741" fmla="*/ 875073 h 892175"/>
              <a:gd name="connsiteX742" fmla="*/ 299854 w 1292225"/>
              <a:gd name="connsiteY742" fmla="*/ 874360 h 892175"/>
              <a:gd name="connsiteX743" fmla="*/ 289858 w 1292225"/>
              <a:gd name="connsiteY743" fmla="*/ 870085 h 892175"/>
              <a:gd name="connsiteX744" fmla="*/ 287717 w 1292225"/>
              <a:gd name="connsiteY744" fmla="*/ 869372 h 892175"/>
              <a:gd name="connsiteX745" fmla="*/ 287003 w 1292225"/>
              <a:gd name="connsiteY745" fmla="*/ 869372 h 892175"/>
              <a:gd name="connsiteX746" fmla="*/ 276294 w 1292225"/>
              <a:gd name="connsiteY746" fmla="*/ 864384 h 892175"/>
              <a:gd name="connsiteX747" fmla="*/ 273438 w 1292225"/>
              <a:gd name="connsiteY747" fmla="*/ 862959 h 892175"/>
              <a:gd name="connsiteX748" fmla="*/ 263443 w 1292225"/>
              <a:gd name="connsiteY748" fmla="*/ 857970 h 892175"/>
              <a:gd name="connsiteX749" fmla="*/ 262015 w 1292225"/>
              <a:gd name="connsiteY749" fmla="*/ 856545 h 892175"/>
              <a:gd name="connsiteX750" fmla="*/ 251306 w 1292225"/>
              <a:gd name="connsiteY750" fmla="*/ 850844 h 892175"/>
              <a:gd name="connsiteX751" fmla="*/ 248450 w 1292225"/>
              <a:gd name="connsiteY751" fmla="*/ 849419 h 892175"/>
              <a:gd name="connsiteX752" fmla="*/ 238455 w 1292225"/>
              <a:gd name="connsiteY752" fmla="*/ 843006 h 892175"/>
              <a:gd name="connsiteX753" fmla="*/ 236313 w 1292225"/>
              <a:gd name="connsiteY753" fmla="*/ 840868 h 892175"/>
              <a:gd name="connsiteX754" fmla="*/ 228460 w 1292225"/>
              <a:gd name="connsiteY754" fmla="*/ 835167 h 892175"/>
              <a:gd name="connsiteX755" fmla="*/ 227746 w 1292225"/>
              <a:gd name="connsiteY755" fmla="*/ 835167 h 892175"/>
              <a:gd name="connsiteX756" fmla="*/ 225604 w 1292225"/>
              <a:gd name="connsiteY756" fmla="*/ 833742 h 892175"/>
              <a:gd name="connsiteX757" fmla="*/ 217037 w 1292225"/>
              <a:gd name="connsiteY757" fmla="*/ 826616 h 892175"/>
              <a:gd name="connsiteX758" fmla="*/ 214181 w 1292225"/>
              <a:gd name="connsiteY758" fmla="*/ 823766 h 892175"/>
              <a:gd name="connsiteX759" fmla="*/ 206328 w 1292225"/>
              <a:gd name="connsiteY759" fmla="*/ 817352 h 892175"/>
              <a:gd name="connsiteX760" fmla="*/ 204186 w 1292225"/>
              <a:gd name="connsiteY760" fmla="*/ 815927 h 892175"/>
              <a:gd name="connsiteX761" fmla="*/ 196333 w 1292225"/>
              <a:gd name="connsiteY761" fmla="*/ 808088 h 892175"/>
              <a:gd name="connsiteX762" fmla="*/ 193477 w 1292225"/>
              <a:gd name="connsiteY762" fmla="*/ 805238 h 892175"/>
              <a:gd name="connsiteX763" fmla="*/ 185624 w 1292225"/>
              <a:gd name="connsiteY763" fmla="*/ 797399 h 892175"/>
              <a:gd name="connsiteX764" fmla="*/ 183482 w 1292225"/>
              <a:gd name="connsiteY764" fmla="*/ 794549 h 892175"/>
              <a:gd name="connsiteX765" fmla="*/ 177056 w 1292225"/>
              <a:gd name="connsiteY765" fmla="*/ 787423 h 892175"/>
              <a:gd name="connsiteX766" fmla="*/ 174915 w 1292225"/>
              <a:gd name="connsiteY766" fmla="*/ 784573 h 892175"/>
              <a:gd name="connsiteX767" fmla="*/ 171345 w 1292225"/>
              <a:gd name="connsiteY767" fmla="*/ 780297 h 892175"/>
              <a:gd name="connsiteX768" fmla="*/ 169203 w 1292225"/>
              <a:gd name="connsiteY768" fmla="*/ 779584 h 892175"/>
              <a:gd name="connsiteX769" fmla="*/ 164920 w 1292225"/>
              <a:gd name="connsiteY769" fmla="*/ 777447 h 892175"/>
              <a:gd name="connsiteX770" fmla="*/ 157780 w 1292225"/>
              <a:gd name="connsiteY770" fmla="*/ 774596 h 892175"/>
              <a:gd name="connsiteX771" fmla="*/ 157066 w 1292225"/>
              <a:gd name="connsiteY771" fmla="*/ 773884 h 892175"/>
              <a:gd name="connsiteX772" fmla="*/ 153497 w 1292225"/>
              <a:gd name="connsiteY772" fmla="*/ 772458 h 892175"/>
              <a:gd name="connsiteX773" fmla="*/ 145643 w 1292225"/>
              <a:gd name="connsiteY773" fmla="*/ 768183 h 892175"/>
              <a:gd name="connsiteX774" fmla="*/ 142788 w 1292225"/>
              <a:gd name="connsiteY774" fmla="*/ 766758 h 892175"/>
              <a:gd name="connsiteX775" fmla="*/ 132078 w 1292225"/>
              <a:gd name="connsiteY775" fmla="*/ 761057 h 892175"/>
              <a:gd name="connsiteX776" fmla="*/ 129937 w 1292225"/>
              <a:gd name="connsiteY776" fmla="*/ 759632 h 892175"/>
              <a:gd name="connsiteX777" fmla="*/ 129223 w 1292225"/>
              <a:gd name="connsiteY777" fmla="*/ 758919 h 892175"/>
              <a:gd name="connsiteX778" fmla="*/ 122083 w 1292225"/>
              <a:gd name="connsiteY778" fmla="*/ 754643 h 892175"/>
              <a:gd name="connsiteX779" fmla="*/ 119228 w 1292225"/>
              <a:gd name="connsiteY779" fmla="*/ 752506 h 892175"/>
              <a:gd name="connsiteX780" fmla="*/ 118514 w 1292225"/>
              <a:gd name="connsiteY780" fmla="*/ 751793 h 892175"/>
              <a:gd name="connsiteX781" fmla="*/ 112088 w 1292225"/>
              <a:gd name="connsiteY781" fmla="*/ 747517 h 892175"/>
              <a:gd name="connsiteX782" fmla="*/ 111374 w 1292225"/>
              <a:gd name="connsiteY782" fmla="*/ 747517 h 892175"/>
              <a:gd name="connsiteX783" fmla="*/ 108519 w 1292225"/>
              <a:gd name="connsiteY783" fmla="*/ 744667 h 892175"/>
              <a:gd name="connsiteX784" fmla="*/ 102093 w 1292225"/>
              <a:gd name="connsiteY784" fmla="*/ 739679 h 892175"/>
              <a:gd name="connsiteX785" fmla="*/ 101379 w 1292225"/>
              <a:gd name="connsiteY785" fmla="*/ 739679 h 892175"/>
              <a:gd name="connsiteX786" fmla="*/ 99237 w 1292225"/>
              <a:gd name="connsiteY786" fmla="*/ 737541 h 892175"/>
              <a:gd name="connsiteX787" fmla="*/ 89956 w 1292225"/>
              <a:gd name="connsiteY787" fmla="*/ 729702 h 892175"/>
              <a:gd name="connsiteX788" fmla="*/ 87814 w 1292225"/>
              <a:gd name="connsiteY788" fmla="*/ 728277 h 892175"/>
              <a:gd name="connsiteX789" fmla="*/ 81389 w 1292225"/>
              <a:gd name="connsiteY789" fmla="*/ 721864 h 892175"/>
              <a:gd name="connsiteX790" fmla="*/ 78533 w 1292225"/>
              <a:gd name="connsiteY790" fmla="*/ 719013 h 892175"/>
              <a:gd name="connsiteX791" fmla="*/ 78533 w 1292225"/>
              <a:gd name="connsiteY791" fmla="*/ 718301 h 892175"/>
              <a:gd name="connsiteX792" fmla="*/ 72822 w 1292225"/>
              <a:gd name="connsiteY792" fmla="*/ 713313 h 892175"/>
              <a:gd name="connsiteX793" fmla="*/ 69966 w 1292225"/>
              <a:gd name="connsiteY793" fmla="*/ 709750 h 892175"/>
              <a:gd name="connsiteX794" fmla="*/ 64255 w 1292225"/>
              <a:gd name="connsiteY794" fmla="*/ 703336 h 892175"/>
              <a:gd name="connsiteX795" fmla="*/ 62113 w 1292225"/>
              <a:gd name="connsiteY795" fmla="*/ 700486 h 892175"/>
              <a:gd name="connsiteX796" fmla="*/ 54973 w 1292225"/>
              <a:gd name="connsiteY796" fmla="*/ 691935 h 892175"/>
              <a:gd name="connsiteX797" fmla="*/ 54259 w 1292225"/>
              <a:gd name="connsiteY797" fmla="*/ 691222 h 892175"/>
              <a:gd name="connsiteX798" fmla="*/ 47834 w 1292225"/>
              <a:gd name="connsiteY798" fmla="*/ 681246 h 892175"/>
              <a:gd name="connsiteX799" fmla="*/ 45692 w 1292225"/>
              <a:gd name="connsiteY799" fmla="*/ 679108 h 892175"/>
              <a:gd name="connsiteX800" fmla="*/ 44978 w 1292225"/>
              <a:gd name="connsiteY800" fmla="*/ 678395 h 892175"/>
              <a:gd name="connsiteX801" fmla="*/ 40695 w 1292225"/>
              <a:gd name="connsiteY801" fmla="*/ 671269 h 892175"/>
              <a:gd name="connsiteX802" fmla="*/ 38553 w 1292225"/>
              <a:gd name="connsiteY802" fmla="*/ 667706 h 892175"/>
              <a:gd name="connsiteX803" fmla="*/ 34269 w 1292225"/>
              <a:gd name="connsiteY803" fmla="*/ 660580 h 892175"/>
              <a:gd name="connsiteX804" fmla="*/ 34269 w 1292225"/>
              <a:gd name="connsiteY804" fmla="*/ 659868 h 892175"/>
              <a:gd name="connsiteX805" fmla="*/ 32127 w 1292225"/>
              <a:gd name="connsiteY805" fmla="*/ 657017 h 892175"/>
              <a:gd name="connsiteX806" fmla="*/ 27844 w 1292225"/>
              <a:gd name="connsiteY806" fmla="*/ 648466 h 892175"/>
              <a:gd name="connsiteX807" fmla="*/ 27130 w 1292225"/>
              <a:gd name="connsiteY807" fmla="*/ 646328 h 892175"/>
              <a:gd name="connsiteX808" fmla="*/ 22132 w 1292225"/>
              <a:gd name="connsiteY808" fmla="*/ 634927 h 892175"/>
              <a:gd name="connsiteX809" fmla="*/ 20704 w 1292225"/>
              <a:gd name="connsiteY809" fmla="*/ 632789 h 892175"/>
              <a:gd name="connsiteX810" fmla="*/ 20704 w 1292225"/>
              <a:gd name="connsiteY810" fmla="*/ 632076 h 892175"/>
              <a:gd name="connsiteX811" fmla="*/ 17135 w 1292225"/>
              <a:gd name="connsiteY811" fmla="*/ 623525 h 892175"/>
              <a:gd name="connsiteX812" fmla="*/ 15707 w 1292225"/>
              <a:gd name="connsiteY812" fmla="*/ 620675 h 892175"/>
              <a:gd name="connsiteX813" fmla="*/ 15707 w 1292225"/>
              <a:gd name="connsiteY813" fmla="*/ 619962 h 892175"/>
              <a:gd name="connsiteX814" fmla="*/ 12851 w 1292225"/>
              <a:gd name="connsiteY814" fmla="*/ 612123 h 892175"/>
              <a:gd name="connsiteX815" fmla="*/ 12137 w 1292225"/>
              <a:gd name="connsiteY815" fmla="*/ 607848 h 892175"/>
              <a:gd name="connsiteX816" fmla="*/ 9281 w 1292225"/>
              <a:gd name="connsiteY816" fmla="*/ 599297 h 892175"/>
              <a:gd name="connsiteX817" fmla="*/ 9281 w 1292225"/>
              <a:gd name="connsiteY817" fmla="*/ 598584 h 892175"/>
              <a:gd name="connsiteX818" fmla="*/ 8567 w 1292225"/>
              <a:gd name="connsiteY818" fmla="*/ 595734 h 892175"/>
              <a:gd name="connsiteX819" fmla="*/ 5712 w 1292225"/>
              <a:gd name="connsiteY819" fmla="*/ 583619 h 892175"/>
              <a:gd name="connsiteX820" fmla="*/ 4998 w 1292225"/>
              <a:gd name="connsiteY820" fmla="*/ 580769 h 892175"/>
              <a:gd name="connsiteX821" fmla="*/ 3570 w 1292225"/>
              <a:gd name="connsiteY821" fmla="*/ 571505 h 892175"/>
              <a:gd name="connsiteX822" fmla="*/ 2856 w 1292225"/>
              <a:gd name="connsiteY822" fmla="*/ 568655 h 892175"/>
              <a:gd name="connsiteX823" fmla="*/ 2856 w 1292225"/>
              <a:gd name="connsiteY823" fmla="*/ 567942 h 892175"/>
              <a:gd name="connsiteX824" fmla="*/ 2856 w 1292225"/>
              <a:gd name="connsiteY824" fmla="*/ 567230 h 892175"/>
              <a:gd name="connsiteX825" fmla="*/ 1428 w 1292225"/>
              <a:gd name="connsiteY825" fmla="*/ 558678 h 892175"/>
              <a:gd name="connsiteX826" fmla="*/ 1428 w 1292225"/>
              <a:gd name="connsiteY826" fmla="*/ 554403 h 892175"/>
              <a:gd name="connsiteX827" fmla="*/ 714 w 1292225"/>
              <a:gd name="connsiteY827" fmla="*/ 545852 h 892175"/>
              <a:gd name="connsiteX828" fmla="*/ 714 w 1292225"/>
              <a:gd name="connsiteY828" fmla="*/ 545139 h 892175"/>
              <a:gd name="connsiteX829" fmla="*/ 0 w 1292225"/>
              <a:gd name="connsiteY829" fmla="*/ 541576 h 892175"/>
              <a:gd name="connsiteX830" fmla="*/ 0 w 1292225"/>
              <a:gd name="connsiteY830" fmla="*/ 528749 h 892175"/>
              <a:gd name="connsiteX831" fmla="*/ 67110 w 1292225"/>
              <a:gd name="connsiteY831" fmla="*/ 350599 h 892175"/>
              <a:gd name="connsiteX832" fmla="*/ 179912 w 1292225"/>
              <a:gd name="connsiteY832" fmla="*/ 274351 h 892175"/>
              <a:gd name="connsiteX833" fmla="*/ 480479 w 1292225"/>
              <a:gd name="connsiteY833" fmla="*/ 0 h 892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</a:cxnLst>
            <a:rect l="l" t="t" r="r" b="b"/>
            <a:pathLst>
              <a:path w="1292225" h="892175">
                <a:moveTo>
                  <a:pt x="884370" y="474662"/>
                </a:moveTo>
                <a:cubicBezTo>
                  <a:pt x="875055" y="474662"/>
                  <a:pt x="866456" y="476784"/>
                  <a:pt x="858573" y="481734"/>
                </a:cubicBezTo>
                <a:cubicBezTo>
                  <a:pt x="850691" y="486684"/>
                  <a:pt x="844958" y="492341"/>
                  <a:pt x="841375" y="500120"/>
                </a:cubicBezTo>
                <a:cubicBezTo>
                  <a:pt x="841375" y="500120"/>
                  <a:pt x="841375" y="500120"/>
                  <a:pt x="860006" y="514263"/>
                </a:cubicBezTo>
                <a:cubicBezTo>
                  <a:pt x="866456" y="502948"/>
                  <a:pt x="875055" y="497291"/>
                  <a:pt x="885803" y="497291"/>
                </a:cubicBezTo>
                <a:cubicBezTo>
                  <a:pt x="900135" y="497291"/>
                  <a:pt x="906584" y="502948"/>
                  <a:pt x="906584" y="514970"/>
                </a:cubicBezTo>
                <a:cubicBezTo>
                  <a:pt x="906584" y="524870"/>
                  <a:pt x="902285" y="536892"/>
                  <a:pt x="892253" y="551035"/>
                </a:cubicBezTo>
                <a:cubicBezTo>
                  <a:pt x="892253" y="551035"/>
                  <a:pt x="892253" y="551035"/>
                  <a:pt x="842808" y="622458"/>
                </a:cubicBezTo>
                <a:cubicBezTo>
                  <a:pt x="842808" y="622458"/>
                  <a:pt x="842808" y="622458"/>
                  <a:pt x="842808" y="630237"/>
                </a:cubicBezTo>
                <a:cubicBezTo>
                  <a:pt x="842808" y="630237"/>
                  <a:pt x="842808" y="630237"/>
                  <a:pt x="944563" y="630237"/>
                </a:cubicBezTo>
                <a:cubicBezTo>
                  <a:pt x="944563" y="630237"/>
                  <a:pt x="944563" y="630237"/>
                  <a:pt x="944563" y="606194"/>
                </a:cubicBezTo>
                <a:cubicBezTo>
                  <a:pt x="944563" y="606194"/>
                  <a:pt x="944563" y="606194"/>
                  <a:pt x="886520" y="606194"/>
                </a:cubicBezTo>
                <a:cubicBezTo>
                  <a:pt x="886520" y="606194"/>
                  <a:pt x="886520" y="606194"/>
                  <a:pt x="918050" y="558107"/>
                </a:cubicBezTo>
                <a:cubicBezTo>
                  <a:pt x="929515" y="541135"/>
                  <a:pt x="935248" y="526285"/>
                  <a:pt x="935248" y="514970"/>
                </a:cubicBezTo>
                <a:cubicBezTo>
                  <a:pt x="935248" y="502241"/>
                  <a:pt x="930948" y="492341"/>
                  <a:pt x="922349" y="485270"/>
                </a:cubicBezTo>
                <a:cubicBezTo>
                  <a:pt x="913034" y="478198"/>
                  <a:pt x="900852" y="474662"/>
                  <a:pt x="884370" y="474662"/>
                </a:cubicBezTo>
                <a:close/>
                <a:moveTo>
                  <a:pt x="693542" y="357187"/>
                </a:moveTo>
                <a:cubicBezTo>
                  <a:pt x="739181" y="357187"/>
                  <a:pt x="762000" y="387867"/>
                  <a:pt x="762000" y="450653"/>
                </a:cubicBezTo>
                <a:cubicBezTo>
                  <a:pt x="762000" y="482047"/>
                  <a:pt x="756295" y="506305"/>
                  <a:pt x="743460" y="522715"/>
                </a:cubicBezTo>
                <a:cubicBezTo>
                  <a:pt x="731337" y="539839"/>
                  <a:pt x="713509" y="547687"/>
                  <a:pt x="689977" y="547687"/>
                </a:cubicBezTo>
                <a:cubicBezTo>
                  <a:pt x="670010" y="547687"/>
                  <a:pt x="654322" y="539839"/>
                  <a:pt x="644338" y="522715"/>
                </a:cubicBezTo>
                <a:cubicBezTo>
                  <a:pt x="634355" y="505592"/>
                  <a:pt x="628650" y="481333"/>
                  <a:pt x="628650" y="450653"/>
                </a:cubicBezTo>
                <a:cubicBezTo>
                  <a:pt x="628650" y="422114"/>
                  <a:pt x="634355" y="399283"/>
                  <a:pt x="645052" y="382159"/>
                </a:cubicBezTo>
                <a:cubicBezTo>
                  <a:pt x="656461" y="365749"/>
                  <a:pt x="672149" y="357187"/>
                  <a:pt x="693542" y="357187"/>
                </a:cubicBezTo>
                <a:close/>
                <a:moveTo>
                  <a:pt x="693542" y="314325"/>
                </a:moveTo>
                <a:cubicBezTo>
                  <a:pt x="658597" y="314325"/>
                  <a:pt x="630784" y="327165"/>
                  <a:pt x="610103" y="353559"/>
                </a:cubicBezTo>
                <a:cubicBezTo>
                  <a:pt x="589421" y="379953"/>
                  <a:pt x="579437" y="412053"/>
                  <a:pt x="579437" y="449861"/>
                </a:cubicBezTo>
                <a:cubicBezTo>
                  <a:pt x="579437" y="492661"/>
                  <a:pt x="588708" y="526902"/>
                  <a:pt x="607963" y="551869"/>
                </a:cubicBezTo>
                <a:cubicBezTo>
                  <a:pt x="626505" y="576836"/>
                  <a:pt x="654318" y="588963"/>
                  <a:pt x="689976" y="588963"/>
                </a:cubicBezTo>
                <a:cubicBezTo>
                  <a:pt x="728486" y="588963"/>
                  <a:pt x="758439" y="576836"/>
                  <a:pt x="779833" y="551156"/>
                </a:cubicBezTo>
                <a:cubicBezTo>
                  <a:pt x="800515" y="526189"/>
                  <a:pt x="811212" y="492661"/>
                  <a:pt x="811212" y="449861"/>
                </a:cubicBezTo>
                <a:cubicBezTo>
                  <a:pt x="811212" y="407060"/>
                  <a:pt x="801228" y="373533"/>
                  <a:pt x="780547" y="349992"/>
                </a:cubicBezTo>
                <a:cubicBezTo>
                  <a:pt x="760578" y="326452"/>
                  <a:pt x="731339" y="314325"/>
                  <a:pt x="693542" y="314325"/>
                </a:cubicBezTo>
                <a:close/>
                <a:moveTo>
                  <a:pt x="474248" y="314325"/>
                </a:moveTo>
                <a:cubicBezTo>
                  <a:pt x="438627" y="314325"/>
                  <a:pt x="409418" y="327879"/>
                  <a:pt x="386621" y="354272"/>
                </a:cubicBezTo>
                <a:cubicBezTo>
                  <a:pt x="363824" y="380666"/>
                  <a:pt x="352425" y="413480"/>
                  <a:pt x="352425" y="452714"/>
                </a:cubicBezTo>
                <a:cubicBezTo>
                  <a:pt x="352425" y="494802"/>
                  <a:pt x="363111" y="528329"/>
                  <a:pt x="383771" y="552583"/>
                </a:cubicBezTo>
                <a:cubicBezTo>
                  <a:pt x="403719" y="576836"/>
                  <a:pt x="432928" y="588963"/>
                  <a:pt x="469973" y="588963"/>
                </a:cubicBezTo>
                <a:cubicBezTo>
                  <a:pt x="507019" y="588963"/>
                  <a:pt x="534803" y="578976"/>
                  <a:pt x="554038" y="558289"/>
                </a:cubicBezTo>
                <a:cubicBezTo>
                  <a:pt x="554038" y="558289"/>
                  <a:pt x="554038" y="558289"/>
                  <a:pt x="531953" y="520482"/>
                </a:cubicBezTo>
                <a:cubicBezTo>
                  <a:pt x="518418" y="538316"/>
                  <a:pt x="498470" y="546876"/>
                  <a:pt x="473536" y="546876"/>
                </a:cubicBezTo>
                <a:cubicBezTo>
                  <a:pt x="451451" y="546876"/>
                  <a:pt x="434353" y="539029"/>
                  <a:pt x="421529" y="521909"/>
                </a:cubicBezTo>
                <a:cubicBezTo>
                  <a:pt x="407993" y="505502"/>
                  <a:pt x="401582" y="482675"/>
                  <a:pt x="401582" y="454854"/>
                </a:cubicBezTo>
                <a:cubicBezTo>
                  <a:pt x="401582" y="426320"/>
                  <a:pt x="408706" y="402780"/>
                  <a:pt x="422954" y="384233"/>
                </a:cubicBezTo>
                <a:cubicBezTo>
                  <a:pt x="437202" y="365686"/>
                  <a:pt x="455013" y="356413"/>
                  <a:pt x="477098" y="356413"/>
                </a:cubicBezTo>
                <a:cubicBezTo>
                  <a:pt x="500607" y="356413"/>
                  <a:pt x="516993" y="361406"/>
                  <a:pt x="527679" y="372106"/>
                </a:cubicBezTo>
                <a:cubicBezTo>
                  <a:pt x="527679" y="372106"/>
                  <a:pt x="527679" y="372106"/>
                  <a:pt x="546914" y="333585"/>
                </a:cubicBezTo>
                <a:cubicBezTo>
                  <a:pt x="529104" y="320745"/>
                  <a:pt x="504882" y="314325"/>
                  <a:pt x="474248" y="314325"/>
                </a:cubicBezTo>
                <a:close/>
                <a:moveTo>
                  <a:pt x="479651" y="61912"/>
                </a:moveTo>
                <a:cubicBezTo>
                  <a:pt x="562485" y="61912"/>
                  <a:pt x="635322" y="103243"/>
                  <a:pt x="678167" y="165952"/>
                </a:cubicBezTo>
                <a:cubicBezTo>
                  <a:pt x="705302" y="148850"/>
                  <a:pt x="737436" y="138873"/>
                  <a:pt x="771712" y="138873"/>
                </a:cubicBezTo>
                <a:cubicBezTo>
                  <a:pt x="867399" y="138873"/>
                  <a:pt x="944520" y="215835"/>
                  <a:pt x="945948" y="310611"/>
                </a:cubicBezTo>
                <a:cubicBezTo>
                  <a:pt x="946662" y="310611"/>
                  <a:pt x="946662" y="310611"/>
                  <a:pt x="947376" y="310611"/>
                </a:cubicBezTo>
                <a:cubicBezTo>
                  <a:pt x="948804" y="310611"/>
                  <a:pt x="950947" y="310611"/>
                  <a:pt x="953089" y="310611"/>
                </a:cubicBezTo>
                <a:cubicBezTo>
                  <a:pt x="1012358" y="312749"/>
                  <a:pt x="1063772" y="347667"/>
                  <a:pt x="1088765" y="398262"/>
                </a:cubicBezTo>
                <a:cubicBezTo>
                  <a:pt x="1103761" y="401112"/>
                  <a:pt x="1117328" y="405388"/>
                  <a:pt x="1130896" y="411801"/>
                </a:cubicBezTo>
                <a:cubicBezTo>
                  <a:pt x="1130896" y="411801"/>
                  <a:pt x="1130896" y="411801"/>
                  <a:pt x="1131610" y="411801"/>
                </a:cubicBezTo>
                <a:cubicBezTo>
                  <a:pt x="1135180" y="413939"/>
                  <a:pt x="1139465" y="416077"/>
                  <a:pt x="1143035" y="418215"/>
                </a:cubicBezTo>
                <a:cubicBezTo>
                  <a:pt x="1143749" y="418927"/>
                  <a:pt x="1144463" y="418927"/>
                  <a:pt x="1145177" y="419640"/>
                </a:cubicBezTo>
                <a:cubicBezTo>
                  <a:pt x="1150176" y="422490"/>
                  <a:pt x="1154460" y="425341"/>
                  <a:pt x="1158745" y="428191"/>
                </a:cubicBezTo>
                <a:cubicBezTo>
                  <a:pt x="1162315" y="431042"/>
                  <a:pt x="1165886" y="433892"/>
                  <a:pt x="1169456" y="436742"/>
                </a:cubicBezTo>
                <a:cubicBezTo>
                  <a:pt x="1171598" y="438880"/>
                  <a:pt x="1173741" y="441018"/>
                  <a:pt x="1175883" y="443156"/>
                </a:cubicBezTo>
                <a:cubicBezTo>
                  <a:pt x="1181596" y="448144"/>
                  <a:pt x="1187308" y="454558"/>
                  <a:pt x="1192307" y="460258"/>
                </a:cubicBezTo>
                <a:cubicBezTo>
                  <a:pt x="1198020" y="467384"/>
                  <a:pt x="1203018" y="475223"/>
                  <a:pt x="1207303" y="483062"/>
                </a:cubicBezTo>
                <a:cubicBezTo>
                  <a:pt x="1215158" y="496601"/>
                  <a:pt x="1220870" y="511566"/>
                  <a:pt x="1224441" y="527956"/>
                </a:cubicBezTo>
                <a:cubicBezTo>
                  <a:pt x="1227297" y="540070"/>
                  <a:pt x="1228725" y="552184"/>
                  <a:pt x="1228725" y="565724"/>
                </a:cubicBezTo>
                <a:cubicBezTo>
                  <a:pt x="1228725" y="568574"/>
                  <a:pt x="1228725" y="571425"/>
                  <a:pt x="1228725" y="574275"/>
                </a:cubicBezTo>
                <a:cubicBezTo>
                  <a:pt x="1228011" y="582826"/>
                  <a:pt x="1227297" y="591378"/>
                  <a:pt x="1225155" y="599929"/>
                </a:cubicBezTo>
                <a:cubicBezTo>
                  <a:pt x="1224441" y="602779"/>
                  <a:pt x="1223727" y="605630"/>
                  <a:pt x="1223013" y="608480"/>
                </a:cubicBezTo>
                <a:cubicBezTo>
                  <a:pt x="1204446" y="681879"/>
                  <a:pt x="1136608" y="736037"/>
                  <a:pt x="1055917" y="736037"/>
                </a:cubicBezTo>
                <a:cubicBezTo>
                  <a:pt x="1048776" y="736037"/>
                  <a:pt x="1038065" y="736037"/>
                  <a:pt x="1023783" y="736037"/>
                </a:cubicBezTo>
                <a:cubicBezTo>
                  <a:pt x="1023783" y="736749"/>
                  <a:pt x="1023069" y="736749"/>
                  <a:pt x="1023069" y="736749"/>
                </a:cubicBezTo>
                <a:cubicBezTo>
                  <a:pt x="1021641" y="738174"/>
                  <a:pt x="1019499" y="739600"/>
                  <a:pt x="1018070" y="741025"/>
                </a:cubicBezTo>
                <a:cubicBezTo>
                  <a:pt x="1017356" y="741737"/>
                  <a:pt x="1016642" y="742450"/>
                  <a:pt x="1015928" y="743163"/>
                </a:cubicBezTo>
                <a:cubicBezTo>
                  <a:pt x="1014500" y="743875"/>
                  <a:pt x="1013072" y="744588"/>
                  <a:pt x="1012358" y="746013"/>
                </a:cubicBezTo>
                <a:cubicBezTo>
                  <a:pt x="1010930" y="746726"/>
                  <a:pt x="1010216" y="747438"/>
                  <a:pt x="1009501" y="747438"/>
                </a:cubicBezTo>
                <a:cubicBezTo>
                  <a:pt x="1008073" y="748863"/>
                  <a:pt x="1007359" y="749576"/>
                  <a:pt x="1005931" y="750289"/>
                </a:cubicBezTo>
                <a:cubicBezTo>
                  <a:pt x="1005217" y="751001"/>
                  <a:pt x="1003789" y="751714"/>
                  <a:pt x="1003075" y="752426"/>
                </a:cubicBezTo>
                <a:cubicBezTo>
                  <a:pt x="1001647" y="753139"/>
                  <a:pt x="1000932" y="753852"/>
                  <a:pt x="999504" y="754564"/>
                </a:cubicBezTo>
                <a:cubicBezTo>
                  <a:pt x="998790" y="755277"/>
                  <a:pt x="997362" y="755277"/>
                  <a:pt x="996648" y="755989"/>
                </a:cubicBezTo>
                <a:cubicBezTo>
                  <a:pt x="995220" y="756702"/>
                  <a:pt x="994506" y="757415"/>
                  <a:pt x="993078" y="758127"/>
                </a:cubicBezTo>
                <a:cubicBezTo>
                  <a:pt x="991649" y="758840"/>
                  <a:pt x="990935" y="759552"/>
                  <a:pt x="990221" y="759552"/>
                </a:cubicBezTo>
                <a:cubicBezTo>
                  <a:pt x="988793" y="760265"/>
                  <a:pt x="987365" y="760978"/>
                  <a:pt x="985937" y="761690"/>
                </a:cubicBezTo>
                <a:cubicBezTo>
                  <a:pt x="985223" y="762403"/>
                  <a:pt x="983794" y="763115"/>
                  <a:pt x="983080" y="763115"/>
                </a:cubicBezTo>
                <a:cubicBezTo>
                  <a:pt x="981652" y="763828"/>
                  <a:pt x="980224" y="764541"/>
                  <a:pt x="979510" y="765253"/>
                </a:cubicBezTo>
                <a:cubicBezTo>
                  <a:pt x="978082" y="765253"/>
                  <a:pt x="977368" y="765966"/>
                  <a:pt x="975940" y="766679"/>
                </a:cubicBezTo>
                <a:cubicBezTo>
                  <a:pt x="974511" y="766679"/>
                  <a:pt x="973083" y="767391"/>
                  <a:pt x="972369" y="768104"/>
                </a:cubicBezTo>
                <a:cubicBezTo>
                  <a:pt x="970941" y="768104"/>
                  <a:pt x="970227" y="768816"/>
                  <a:pt x="968799" y="768816"/>
                </a:cubicBezTo>
                <a:cubicBezTo>
                  <a:pt x="967371" y="769529"/>
                  <a:pt x="965942" y="770242"/>
                  <a:pt x="964514" y="770242"/>
                </a:cubicBezTo>
                <a:cubicBezTo>
                  <a:pt x="963800" y="770954"/>
                  <a:pt x="962372" y="770954"/>
                  <a:pt x="961658" y="771667"/>
                </a:cubicBezTo>
                <a:cubicBezTo>
                  <a:pt x="960230" y="771667"/>
                  <a:pt x="958802" y="772379"/>
                  <a:pt x="958087" y="772379"/>
                </a:cubicBezTo>
                <a:cubicBezTo>
                  <a:pt x="956659" y="773092"/>
                  <a:pt x="955945" y="773092"/>
                  <a:pt x="954517" y="773805"/>
                </a:cubicBezTo>
                <a:cubicBezTo>
                  <a:pt x="953089" y="773805"/>
                  <a:pt x="951661" y="774517"/>
                  <a:pt x="950233" y="774517"/>
                </a:cubicBezTo>
                <a:cubicBezTo>
                  <a:pt x="949518" y="774517"/>
                  <a:pt x="948090" y="775230"/>
                  <a:pt x="947376" y="775230"/>
                </a:cubicBezTo>
                <a:cubicBezTo>
                  <a:pt x="945234" y="775230"/>
                  <a:pt x="943806" y="775942"/>
                  <a:pt x="942378" y="775942"/>
                </a:cubicBezTo>
                <a:cubicBezTo>
                  <a:pt x="941664" y="775942"/>
                  <a:pt x="940235" y="776655"/>
                  <a:pt x="939521" y="776655"/>
                </a:cubicBezTo>
                <a:cubicBezTo>
                  <a:pt x="937379" y="776655"/>
                  <a:pt x="935951" y="777368"/>
                  <a:pt x="934523" y="777368"/>
                </a:cubicBezTo>
                <a:cubicBezTo>
                  <a:pt x="933809" y="777368"/>
                  <a:pt x="932380" y="777368"/>
                  <a:pt x="931666" y="777368"/>
                </a:cubicBezTo>
                <a:cubicBezTo>
                  <a:pt x="929524" y="778080"/>
                  <a:pt x="928096" y="778080"/>
                  <a:pt x="925954" y="778080"/>
                </a:cubicBezTo>
                <a:cubicBezTo>
                  <a:pt x="925240" y="778080"/>
                  <a:pt x="924526" y="778080"/>
                  <a:pt x="923097" y="778080"/>
                </a:cubicBezTo>
                <a:cubicBezTo>
                  <a:pt x="920955" y="778080"/>
                  <a:pt x="918099" y="778080"/>
                  <a:pt x="915956" y="778080"/>
                </a:cubicBezTo>
                <a:cubicBezTo>
                  <a:pt x="915242" y="778080"/>
                  <a:pt x="915242" y="778080"/>
                  <a:pt x="915242" y="778080"/>
                </a:cubicBezTo>
                <a:cubicBezTo>
                  <a:pt x="912386" y="778080"/>
                  <a:pt x="910244" y="778080"/>
                  <a:pt x="908102" y="778080"/>
                </a:cubicBezTo>
                <a:cubicBezTo>
                  <a:pt x="907387" y="778080"/>
                  <a:pt x="905959" y="778080"/>
                  <a:pt x="905245" y="778080"/>
                </a:cubicBezTo>
                <a:cubicBezTo>
                  <a:pt x="903817" y="778080"/>
                  <a:pt x="901675" y="778080"/>
                  <a:pt x="900247" y="777368"/>
                </a:cubicBezTo>
                <a:cubicBezTo>
                  <a:pt x="899533" y="777368"/>
                  <a:pt x="898818" y="777368"/>
                  <a:pt x="898104" y="777368"/>
                </a:cubicBezTo>
                <a:cubicBezTo>
                  <a:pt x="895248" y="777368"/>
                  <a:pt x="893106" y="776655"/>
                  <a:pt x="890964" y="776655"/>
                </a:cubicBezTo>
                <a:cubicBezTo>
                  <a:pt x="890249" y="776655"/>
                  <a:pt x="889535" y="776655"/>
                  <a:pt x="889535" y="776655"/>
                </a:cubicBezTo>
                <a:cubicBezTo>
                  <a:pt x="887393" y="775942"/>
                  <a:pt x="885251" y="775942"/>
                  <a:pt x="883823" y="775230"/>
                </a:cubicBezTo>
                <a:cubicBezTo>
                  <a:pt x="883109" y="775230"/>
                  <a:pt x="881680" y="775230"/>
                  <a:pt x="880966" y="774517"/>
                </a:cubicBezTo>
                <a:cubicBezTo>
                  <a:pt x="879538" y="774517"/>
                  <a:pt x="878110" y="773805"/>
                  <a:pt x="876682" y="773805"/>
                </a:cubicBezTo>
                <a:cubicBezTo>
                  <a:pt x="875968" y="773805"/>
                  <a:pt x="874540" y="773092"/>
                  <a:pt x="873826" y="773092"/>
                </a:cubicBezTo>
                <a:cubicBezTo>
                  <a:pt x="871683" y="772379"/>
                  <a:pt x="869541" y="771667"/>
                  <a:pt x="867399" y="770954"/>
                </a:cubicBezTo>
                <a:cubicBezTo>
                  <a:pt x="866685" y="770954"/>
                  <a:pt x="865971" y="770954"/>
                  <a:pt x="864542" y="770242"/>
                </a:cubicBezTo>
                <a:cubicBezTo>
                  <a:pt x="863828" y="770242"/>
                  <a:pt x="862400" y="769529"/>
                  <a:pt x="860972" y="768816"/>
                </a:cubicBezTo>
                <a:cubicBezTo>
                  <a:pt x="859544" y="768816"/>
                  <a:pt x="858830" y="768104"/>
                  <a:pt x="857402" y="768104"/>
                </a:cubicBezTo>
                <a:cubicBezTo>
                  <a:pt x="856688" y="767391"/>
                  <a:pt x="855259" y="766679"/>
                  <a:pt x="854545" y="766679"/>
                </a:cubicBezTo>
                <a:cubicBezTo>
                  <a:pt x="853117" y="765966"/>
                  <a:pt x="852403" y="765966"/>
                  <a:pt x="850975" y="765253"/>
                </a:cubicBezTo>
                <a:cubicBezTo>
                  <a:pt x="849547" y="764541"/>
                  <a:pt x="848119" y="763828"/>
                  <a:pt x="846690" y="763115"/>
                </a:cubicBezTo>
                <a:cubicBezTo>
                  <a:pt x="845262" y="762403"/>
                  <a:pt x="843834" y="761690"/>
                  <a:pt x="842406" y="760978"/>
                </a:cubicBezTo>
                <a:cubicBezTo>
                  <a:pt x="841692" y="760978"/>
                  <a:pt x="840264" y="760265"/>
                  <a:pt x="839550" y="759552"/>
                </a:cubicBezTo>
                <a:cubicBezTo>
                  <a:pt x="838835" y="758840"/>
                  <a:pt x="837407" y="758127"/>
                  <a:pt x="835979" y="758127"/>
                </a:cubicBezTo>
                <a:cubicBezTo>
                  <a:pt x="835265" y="757415"/>
                  <a:pt x="834551" y="756702"/>
                  <a:pt x="833837" y="756702"/>
                </a:cubicBezTo>
                <a:cubicBezTo>
                  <a:pt x="830981" y="754564"/>
                  <a:pt x="828124" y="753139"/>
                  <a:pt x="825268" y="751001"/>
                </a:cubicBezTo>
                <a:cubicBezTo>
                  <a:pt x="823840" y="753139"/>
                  <a:pt x="821697" y="754564"/>
                  <a:pt x="819555" y="756702"/>
                </a:cubicBezTo>
                <a:cubicBezTo>
                  <a:pt x="817413" y="758840"/>
                  <a:pt x="815271" y="760265"/>
                  <a:pt x="813128" y="761690"/>
                </a:cubicBezTo>
                <a:cubicBezTo>
                  <a:pt x="813128" y="761690"/>
                  <a:pt x="813128" y="762403"/>
                  <a:pt x="812414" y="762403"/>
                </a:cubicBezTo>
                <a:cubicBezTo>
                  <a:pt x="810986" y="763828"/>
                  <a:pt x="808844" y="765253"/>
                  <a:pt x="806702" y="766679"/>
                </a:cubicBezTo>
                <a:cubicBezTo>
                  <a:pt x="806702" y="766679"/>
                  <a:pt x="805988" y="766679"/>
                  <a:pt x="805988" y="767391"/>
                </a:cubicBezTo>
                <a:cubicBezTo>
                  <a:pt x="803845" y="768816"/>
                  <a:pt x="801703" y="769529"/>
                  <a:pt x="800275" y="770954"/>
                </a:cubicBezTo>
                <a:cubicBezTo>
                  <a:pt x="799561" y="771667"/>
                  <a:pt x="798847" y="771667"/>
                  <a:pt x="798847" y="771667"/>
                </a:cubicBezTo>
                <a:cubicBezTo>
                  <a:pt x="796704" y="773092"/>
                  <a:pt x="795276" y="774517"/>
                  <a:pt x="793134" y="775230"/>
                </a:cubicBezTo>
                <a:cubicBezTo>
                  <a:pt x="792420" y="775942"/>
                  <a:pt x="791706" y="775942"/>
                  <a:pt x="790992" y="776655"/>
                </a:cubicBezTo>
                <a:cubicBezTo>
                  <a:pt x="789564" y="777368"/>
                  <a:pt x="787421" y="778080"/>
                  <a:pt x="785993" y="779505"/>
                </a:cubicBezTo>
                <a:cubicBezTo>
                  <a:pt x="785279" y="779505"/>
                  <a:pt x="784565" y="780218"/>
                  <a:pt x="783851" y="780218"/>
                </a:cubicBezTo>
                <a:cubicBezTo>
                  <a:pt x="781709" y="781643"/>
                  <a:pt x="780281" y="782356"/>
                  <a:pt x="778138" y="783068"/>
                </a:cubicBezTo>
                <a:cubicBezTo>
                  <a:pt x="777424" y="783781"/>
                  <a:pt x="776710" y="783781"/>
                  <a:pt x="775996" y="784494"/>
                </a:cubicBezTo>
                <a:cubicBezTo>
                  <a:pt x="773854" y="785206"/>
                  <a:pt x="772426" y="785919"/>
                  <a:pt x="770283" y="786631"/>
                </a:cubicBezTo>
                <a:cubicBezTo>
                  <a:pt x="769569" y="786631"/>
                  <a:pt x="768855" y="787344"/>
                  <a:pt x="768141" y="787344"/>
                </a:cubicBezTo>
                <a:cubicBezTo>
                  <a:pt x="765999" y="788057"/>
                  <a:pt x="764571" y="788769"/>
                  <a:pt x="762428" y="789482"/>
                </a:cubicBezTo>
                <a:cubicBezTo>
                  <a:pt x="761714" y="789482"/>
                  <a:pt x="760286" y="790194"/>
                  <a:pt x="759572" y="790194"/>
                </a:cubicBezTo>
                <a:cubicBezTo>
                  <a:pt x="758144" y="790907"/>
                  <a:pt x="756002" y="791620"/>
                  <a:pt x="754574" y="792332"/>
                </a:cubicBezTo>
                <a:cubicBezTo>
                  <a:pt x="753145" y="792332"/>
                  <a:pt x="752431" y="793045"/>
                  <a:pt x="751003" y="793045"/>
                </a:cubicBezTo>
                <a:cubicBezTo>
                  <a:pt x="749575" y="793758"/>
                  <a:pt x="748147" y="793758"/>
                  <a:pt x="746005" y="794470"/>
                </a:cubicBezTo>
                <a:cubicBezTo>
                  <a:pt x="745290" y="794470"/>
                  <a:pt x="743862" y="795183"/>
                  <a:pt x="742434" y="795183"/>
                </a:cubicBezTo>
                <a:cubicBezTo>
                  <a:pt x="741006" y="795895"/>
                  <a:pt x="739578" y="795895"/>
                  <a:pt x="737436" y="796608"/>
                </a:cubicBezTo>
                <a:cubicBezTo>
                  <a:pt x="736007" y="796608"/>
                  <a:pt x="734579" y="796608"/>
                  <a:pt x="733151" y="797321"/>
                </a:cubicBezTo>
                <a:cubicBezTo>
                  <a:pt x="731723" y="797321"/>
                  <a:pt x="730295" y="797321"/>
                  <a:pt x="728867" y="798033"/>
                </a:cubicBezTo>
                <a:cubicBezTo>
                  <a:pt x="727438" y="798033"/>
                  <a:pt x="726010" y="798033"/>
                  <a:pt x="724582" y="798746"/>
                </a:cubicBezTo>
                <a:cubicBezTo>
                  <a:pt x="723154" y="798746"/>
                  <a:pt x="721726" y="798746"/>
                  <a:pt x="720298" y="798746"/>
                </a:cubicBezTo>
                <a:cubicBezTo>
                  <a:pt x="718155" y="799458"/>
                  <a:pt x="716727" y="799458"/>
                  <a:pt x="714585" y="799458"/>
                </a:cubicBezTo>
                <a:cubicBezTo>
                  <a:pt x="713157" y="799458"/>
                  <a:pt x="712443" y="799458"/>
                  <a:pt x="711014" y="799458"/>
                </a:cubicBezTo>
                <a:cubicBezTo>
                  <a:pt x="708158" y="799458"/>
                  <a:pt x="705302" y="800171"/>
                  <a:pt x="702445" y="800171"/>
                </a:cubicBezTo>
                <a:cubicBezTo>
                  <a:pt x="698875" y="800171"/>
                  <a:pt x="696019" y="799458"/>
                  <a:pt x="693162" y="799458"/>
                </a:cubicBezTo>
                <a:cubicBezTo>
                  <a:pt x="691734" y="799458"/>
                  <a:pt x="690306" y="799458"/>
                  <a:pt x="689592" y="799458"/>
                </a:cubicBezTo>
                <a:cubicBezTo>
                  <a:pt x="687450" y="799458"/>
                  <a:pt x="686021" y="798746"/>
                  <a:pt x="683879" y="798746"/>
                </a:cubicBezTo>
                <a:cubicBezTo>
                  <a:pt x="682451" y="798746"/>
                  <a:pt x="681023" y="798746"/>
                  <a:pt x="679595" y="798033"/>
                </a:cubicBezTo>
                <a:cubicBezTo>
                  <a:pt x="678167" y="798033"/>
                  <a:pt x="676738" y="798033"/>
                  <a:pt x="675310" y="798033"/>
                </a:cubicBezTo>
                <a:cubicBezTo>
                  <a:pt x="673168" y="797321"/>
                  <a:pt x="671740" y="797321"/>
                  <a:pt x="669598" y="796608"/>
                </a:cubicBezTo>
                <a:cubicBezTo>
                  <a:pt x="668169" y="796608"/>
                  <a:pt x="667455" y="796608"/>
                  <a:pt x="666027" y="795895"/>
                </a:cubicBezTo>
                <a:cubicBezTo>
                  <a:pt x="664599" y="795895"/>
                  <a:pt x="662457" y="795183"/>
                  <a:pt x="660314" y="795183"/>
                </a:cubicBezTo>
                <a:cubicBezTo>
                  <a:pt x="659600" y="794470"/>
                  <a:pt x="658172" y="794470"/>
                  <a:pt x="657458" y="794470"/>
                </a:cubicBezTo>
                <a:cubicBezTo>
                  <a:pt x="655316" y="793758"/>
                  <a:pt x="653174" y="793045"/>
                  <a:pt x="651031" y="792332"/>
                </a:cubicBezTo>
                <a:cubicBezTo>
                  <a:pt x="650317" y="792332"/>
                  <a:pt x="649603" y="792332"/>
                  <a:pt x="648889" y="791620"/>
                </a:cubicBezTo>
                <a:cubicBezTo>
                  <a:pt x="646747" y="790907"/>
                  <a:pt x="644605" y="790194"/>
                  <a:pt x="642462" y="789482"/>
                </a:cubicBezTo>
                <a:cubicBezTo>
                  <a:pt x="641748" y="789482"/>
                  <a:pt x="641748" y="789482"/>
                  <a:pt x="641034" y="789482"/>
                </a:cubicBezTo>
                <a:cubicBezTo>
                  <a:pt x="638892" y="788057"/>
                  <a:pt x="636036" y="787344"/>
                  <a:pt x="633893" y="786631"/>
                </a:cubicBezTo>
                <a:cubicBezTo>
                  <a:pt x="633893" y="786631"/>
                  <a:pt x="633179" y="785919"/>
                  <a:pt x="632465" y="785919"/>
                </a:cubicBezTo>
                <a:cubicBezTo>
                  <a:pt x="630323" y="785206"/>
                  <a:pt x="628181" y="783781"/>
                  <a:pt x="626038" y="783068"/>
                </a:cubicBezTo>
                <a:cubicBezTo>
                  <a:pt x="625324" y="783068"/>
                  <a:pt x="625324" y="782356"/>
                  <a:pt x="624610" y="782356"/>
                </a:cubicBezTo>
                <a:cubicBezTo>
                  <a:pt x="622468" y="781643"/>
                  <a:pt x="620326" y="780218"/>
                  <a:pt x="617469" y="778793"/>
                </a:cubicBezTo>
                <a:cubicBezTo>
                  <a:pt x="614613" y="777368"/>
                  <a:pt x="612471" y="775942"/>
                  <a:pt x="610329" y="774517"/>
                </a:cubicBezTo>
                <a:cubicBezTo>
                  <a:pt x="610329" y="774517"/>
                  <a:pt x="610329" y="774517"/>
                  <a:pt x="609615" y="774517"/>
                </a:cubicBezTo>
                <a:cubicBezTo>
                  <a:pt x="607472" y="773092"/>
                  <a:pt x="605330" y="771667"/>
                  <a:pt x="602474" y="770242"/>
                </a:cubicBezTo>
                <a:cubicBezTo>
                  <a:pt x="593191" y="763828"/>
                  <a:pt x="583908" y="756702"/>
                  <a:pt x="576053" y="748863"/>
                </a:cubicBezTo>
                <a:cubicBezTo>
                  <a:pt x="573196" y="751714"/>
                  <a:pt x="571054" y="754564"/>
                  <a:pt x="568198" y="757415"/>
                </a:cubicBezTo>
                <a:cubicBezTo>
                  <a:pt x="568198" y="757415"/>
                  <a:pt x="568198" y="757415"/>
                  <a:pt x="567484" y="757415"/>
                </a:cubicBezTo>
                <a:cubicBezTo>
                  <a:pt x="565341" y="760265"/>
                  <a:pt x="562485" y="763115"/>
                  <a:pt x="559629" y="765966"/>
                </a:cubicBezTo>
                <a:cubicBezTo>
                  <a:pt x="559629" y="765966"/>
                  <a:pt x="559629" y="765966"/>
                  <a:pt x="558915" y="765966"/>
                </a:cubicBezTo>
                <a:cubicBezTo>
                  <a:pt x="551774" y="773092"/>
                  <a:pt x="544633" y="779505"/>
                  <a:pt x="536064" y="785206"/>
                </a:cubicBezTo>
                <a:cubicBezTo>
                  <a:pt x="535350" y="785919"/>
                  <a:pt x="534636" y="785919"/>
                  <a:pt x="534636" y="786631"/>
                </a:cubicBezTo>
                <a:cubicBezTo>
                  <a:pt x="531779" y="788057"/>
                  <a:pt x="529637" y="790194"/>
                  <a:pt x="526781" y="791620"/>
                </a:cubicBezTo>
                <a:cubicBezTo>
                  <a:pt x="526067" y="792332"/>
                  <a:pt x="524639" y="793045"/>
                  <a:pt x="523924" y="793758"/>
                </a:cubicBezTo>
                <a:cubicBezTo>
                  <a:pt x="521782" y="795183"/>
                  <a:pt x="519640" y="795895"/>
                  <a:pt x="517498" y="797321"/>
                </a:cubicBezTo>
                <a:cubicBezTo>
                  <a:pt x="516070" y="798033"/>
                  <a:pt x="514641" y="798746"/>
                  <a:pt x="513927" y="799458"/>
                </a:cubicBezTo>
                <a:cubicBezTo>
                  <a:pt x="511785" y="800884"/>
                  <a:pt x="510357" y="801596"/>
                  <a:pt x="508215" y="802309"/>
                </a:cubicBezTo>
                <a:cubicBezTo>
                  <a:pt x="506786" y="803021"/>
                  <a:pt x="504644" y="804447"/>
                  <a:pt x="503216" y="805159"/>
                </a:cubicBezTo>
                <a:cubicBezTo>
                  <a:pt x="501788" y="805872"/>
                  <a:pt x="500360" y="806584"/>
                  <a:pt x="499646" y="807297"/>
                </a:cubicBezTo>
                <a:cubicBezTo>
                  <a:pt x="496789" y="808010"/>
                  <a:pt x="494647" y="809435"/>
                  <a:pt x="492505" y="810147"/>
                </a:cubicBezTo>
                <a:cubicBezTo>
                  <a:pt x="491077" y="810860"/>
                  <a:pt x="490363" y="810860"/>
                  <a:pt x="488934" y="811573"/>
                </a:cubicBezTo>
                <a:cubicBezTo>
                  <a:pt x="486078" y="812285"/>
                  <a:pt x="483936" y="813710"/>
                  <a:pt x="481079" y="814423"/>
                </a:cubicBezTo>
                <a:cubicBezTo>
                  <a:pt x="480365" y="815136"/>
                  <a:pt x="479651" y="815136"/>
                  <a:pt x="478223" y="815848"/>
                </a:cubicBezTo>
                <a:cubicBezTo>
                  <a:pt x="476081" y="816561"/>
                  <a:pt x="473225" y="817273"/>
                  <a:pt x="470368" y="818699"/>
                </a:cubicBezTo>
                <a:cubicBezTo>
                  <a:pt x="469654" y="818699"/>
                  <a:pt x="468940" y="818699"/>
                  <a:pt x="468226" y="818699"/>
                </a:cubicBezTo>
                <a:cubicBezTo>
                  <a:pt x="465370" y="820124"/>
                  <a:pt x="462513" y="820837"/>
                  <a:pt x="459657" y="821549"/>
                </a:cubicBezTo>
                <a:cubicBezTo>
                  <a:pt x="458943" y="821549"/>
                  <a:pt x="458943" y="821549"/>
                  <a:pt x="458229" y="821549"/>
                </a:cubicBezTo>
                <a:cubicBezTo>
                  <a:pt x="454658" y="822974"/>
                  <a:pt x="451802" y="823687"/>
                  <a:pt x="448946" y="823687"/>
                </a:cubicBezTo>
                <a:cubicBezTo>
                  <a:pt x="448232" y="824400"/>
                  <a:pt x="447518" y="824400"/>
                  <a:pt x="446803" y="824400"/>
                </a:cubicBezTo>
                <a:cubicBezTo>
                  <a:pt x="443233" y="825112"/>
                  <a:pt x="440377" y="825825"/>
                  <a:pt x="436806" y="825825"/>
                </a:cubicBezTo>
                <a:cubicBezTo>
                  <a:pt x="436092" y="826537"/>
                  <a:pt x="436092" y="826537"/>
                  <a:pt x="435378" y="826537"/>
                </a:cubicBezTo>
                <a:cubicBezTo>
                  <a:pt x="431808" y="827250"/>
                  <a:pt x="428237" y="827250"/>
                  <a:pt x="425381" y="827963"/>
                </a:cubicBezTo>
                <a:cubicBezTo>
                  <a:pt x="424667" y="827963"/>
                  <a:pt x="423953" y="827963"/>
                  <a:pt x="423239" y="827963"/>
                </a:cubicBezTo>
                <a:cubicBezTo>
                  <a:pt x="419668" y="827963"/>
                  <a:pt x="416812" y="828675"/>
                  <a:pt x="413241" y="828675"/>
                </a:cubicBezTo>
                <a:cubicBezTo>
                  <a:pt x="412527" y="828675"/>
                  <a:pt x="412527" y="828675"/>
                  <a:pt x="411813" y="828675"/>
                </a:cubicBezTo>
                <a:cubicBezTo>
                  <a:pt x="408243" y="828675"/>
                  <a:pt x="404672" y="828675"/>
                  <a:pt x="401102" y="828675"/>
                </a:cubicBezTo>
                <a:cubicBezTo>
                  <a:pt x="397532" y="828675"/>
                  <a:pt x="393961" y="828675"/>
                  <a:pt x="390391" y="828675"/>
                </a:cubicBezTo>
                <a:cubicBezTo>
                  <a:pt x="389677" y="828675"/>
                  <a:pt x="388963" y="828675"/>
                  <a:pt x="388249" y="828675"/>
                </a:cubicBezTo>
                <a:cubicBezTo>
                  <a:pt x="384678" y="828675"/>
                  <a:pt x="381108" y="827963"/>
                  <a:pt x="377537" y="827963"/>
                </a:cubicBezTo>
                <a:cubicBezTo>
                  <a:pt x="376823" y="827963"/>
                  <a:pt x="376823" y="827963"/>
                  <a:pt x="376109" y="827963"/>
                </a:cubicBezTo>
                <a:cubicBezTo>
                  <a:pt x="373253" y="827250"/>
                  <a:pt x="369682" y="827250"/>
                  <a:pt x="366826" y="826537"/>
                </a:cubicBezTo>
                <a:cubicBezTo>
                  <a:pt x="366112" y="826537"/>
                  <a:pt x="365398" y="826537"/>
                  <a:pt x="365398" y="826537"/>
                </a:cubicBezTo>
                <a:cubicBezTo>
                  <a:pt x="361827" y="825825"/>
                  <a:pt x="358257" y="825112"/>
                  <a:pt x="355401" y="824400"/>
                </a:cubicBezTo>
                <a:cubicBezTo>
                  <a:pt x="354687" y="824400"/>
                  <a:pt x="353973" y="824400"/>
                  <a:pt x="353258" y="823687"/>
                </a:cubicBezTo>
                <a:cubicBezTo>
                  <a:pt x="349688" y="823687"/>
                  <a:pt x="346832" y="822974"/>
                  <a:pt x="343261" y="821549"/>
                </a:cubicBezTo>
                <a:cubicBezTo>
                  <a:pt x="339691" y="820837"/>
                  <a:pt x="336835" y="820124"/>
                  <a:pt x="333264" y="818699"/>
                </a:cubicBezTo>
                <a:cubicBezTo>
                  <a:pt x="332550" y="818699"/>
                  <a:pt x="332550" y="818699"/>
                  <a:pt x="331836" y="817986"/>
                </a:cubicBezTo>
                <a:cubicBezTo>
                  <a:pt x="328980" y="817273"/>
                  <a:pt x="325409" y="816561"/>
                  <a:pt x="322553" y="815136"/>
                </a:cubicBezTo>
                <a:cubicBezTo>
                  <a:pt x="321839" y="815136"/>
                  <a:pt x="321839" y="814423"/>
                  <a:pt x="321125" y="814423"/>
                </a:cubicBezTo>
                <a:cubicBezTo>
                  <a:pt x="318268" y="813710"/>
                  <a:pt x="315412" y="812285"/>
                  <a:pt x="313270" y="811573"/>
                </a:cubicBezTo>
                <a:cubicBezTo>
                  <a:pt x="312556" y="810860"/>
                  <a:pt x="311842" y="810860"/>
                  <a:pt x="311128" y="810860"/>
                </a:cubicBezTo>
                <a:cubicBezTo>
                  <a:pt x="308271" y="809435"/>
                  <a:pt x="305415" y="808010"/>
                  <a:pt x="302558" y="806584"/>
                </a:cubicBezTo>
                <a:cubicBezTo>
                  <a:pt x="301844" y="806584"/>
                  <a:pt x="301130" y="805872"/>
                  <a:pt x="300416" y="805872"/>
                </a:cubicBezTo>
                <a:cubicBezTo>
                  <a:pt x="297560" y="804447"/>
                  <a:pt x="294704" y="803021"/>
                  <a:pt x="292561" y="801596"/>
                </a:cubicBezTo>
                <a:cubicBezTo>
                  <a:pt x="291847" y="801596"/>
                  <a:pt x="291847" y="800884"/>
                  <a:pt x="291133" y="800884"/>
                </a:cubicBezTo>
                <a:cubicBezTo>
                  <a:pt x="288277" y="799458"/>
                  <a:pt x="285420" y="798033"/>
                  <a:pt x="283278" y="796608"/>
                </a:cubicBezTo>
                <a:cubicBezTo>
                  <a:pt x="282564" y="795895"/>
                  <a:pt x="281136" y="795183"/>
                  <a:pt x="280422" y="795183"/>
                </a:cubicBezTo>
                <a:cubicBezTo>
                  <a:pt x="278280" y="793045"/>
                  <a:pt x="275423" y="791620"/>
                  <a:pt x="273281" y="790194"/>
                </a:cubicBezTo>
                <a:cubicBezTo>
                  <a:pt x="272567" y="789482"/>
                  <a:pt x="271853" y="788769"/>
                  <a:pt x="271139" y="788769"/>
                </a:cubicBezTo>
                <a:cubicBezTo>
                  <a:pt x="268997" y="787344"/>
                  <a:pt x="266854" y="785919"/>
                  <a:pt x="264712" y="784494"/>
                </a:cubicBezTo>
                <a:cubicBezTo>
                  <a:pt x="263998" y="783781"/>
                  <a:pt x="263284" y="783068"/>
                  <a:pt x="262570" y="782356"/>
                </a:cubicBezTo>
                <a:cubicBezTo>
                  <a:pt x="260428" y="780931"/>
                  <a:pt x="257571" y="778793"/>
                  <a:pt x="255429" y="777368"/>
                </a:cubicBezTo>
                <a:cubicBezTo>
                  <a:pt x="254715" y="776655"/>
                  <a:pt x="254001" y="775942"/>
                  <a:pt x="253287" y="775230"/>
                </a:cubicBezTo>
                <a:cubicBezTo>
                  <a:pt x="251144" y="773805"/>
                  <a:pt x="249002" y="771667"/>
                  <a:pt x="247574" y="770242"/>
                </a:cubicBezTo>
                <a:cubicBezTo>
                  <a:pt x="246860" y="769529"/>
                  <a:pt x="246146" y="769529"/>
                  <a:pt x="246146" y="768816"/>
                </a:cubicBezTo>
                <a:cubicBezTo>
                  <a:pt x="244004" y="766679"/>
                  <a:pt x="241861" y="764541"/>
                  <a:pt x="239719" y="762403"/>
                </a:cubicBezTo>
                <a:cubicBezTo>
                  <a:pt x="239005" y="761690"/>
                  <a:pt x="237577" y="760978"/>
                  <a:pt x="236863" y="760265"/>
                </a:cubicBezTo>
                <a:cubicBezTo>
                  <a:pt x="235435" y="758127"/>
                  <a:pt x="233292" y="755989"/>
                  <a:pt x="231150" y="753852"/>
                </a:cubicBezTo>
                <a:cubicBezTo>
                  <a:pt x="230436" y="753139"/>
                  <a:pt x="229722" y="752426"/>
                  <a:pt x="229008" y="751714"/>
                </a:cubicBezTo>
                <a:cubicBezTo>
                  <a:pt x="227580" y="750289"/>
                  <a:pt x="226152" y="748151"/>
                  <a:pt x="224723" y="746726"/>
                </a:cubicBezTo>
                <a:cubicBezTo>
                  <a:pt x="224009" y="746013"/>
                  <a:pt x="223295" y="745300"/>
                  <a:pt x="222581" y="744588"/>
                </a:cubicBezTo>
                <a:cubicBezTo>
                  <a:pt x="220439" y="741737"/>
                  <a:pt x="219011" y="739600"/>
                  <a:pt x="216868" y="737462"/>
                </a:cubicBezTo>
                <a:cubicBezTo>
                  <a:pt x="216868" y="736749"/>
                  <a:pt x="216154" y="736037"/>
                  <a:pt x="215440" y="734611"/>
                </a:cubicBezTo>
                <a:cubicBezTo>
                  <a:pt x="214012" y="733186"/>
                  <a:pt x="212584" y="731048"/>
                  <a:pt x="211156" y="728910"/>
                </a:cubicBezTo>
                <a:cubicBezTo>
                  <a:pt x="210442" y="728198"/>
                  <a:pt x="210442" y="727485"/>
                  <a:pt x="209728" y="726773"/>
                </a:cubicBezTo>
                <a:cubicBezTo>
                  <a:pt x="206871" y="726060"/>
                  <a:pt x="204015" y="724635"/>
                  <a:pt x="201159" y="723922"/>
                </a:cubicBezTo>
                <a:cubicBezTo>
                  <a:pt x="199730" y="723210"/>
                  <a:pt x="199016" y="723210"/>
                  <a:pt x="197588" y="722497"/>
                </a:cubicBezTo>
                <a:cubicBezTo>
                  <a:pt x="196160" y="721784"/>
                  <a:pt x="194018" y="721072"/>
                  <a:pt x="191876" y="720359"/>
                </a:cubicBezTo>
                <a:cubicBezTo>
                  <a:pt x="191161" y="720359"/>
                  <a:pt x="189733" y="719647"/>
                  <a:pt x="189019" y="718934"/>
                </a:cubicBezTo>
                <a:cubicBezTo>
                  <a:pt x="186877" y="718221"/>
                  <a:pt x="184735" y="717509"/>
                  <a:pt x="183306" y="716796"/>
                </a:cubicBezTo>
                <a:cubicBezTo>
                  <a:pt x="181878" y="716084"/>
                  <a:pt x="181164" y="715371"/>
                  <a:pt x="179736" y="715371"/>
                </a:cubicBezTo>
                <a:cubicBezTo>
                  <a:pt x="178308" y="713946"/>
                  <a:pt x="176166" y="713233"/>
                  <a:pt x="174023" y="711808"/>
                </a:cubicBezTo>
                <a:cubicBezTo>
                  <a:pt x="173309" y="711808"/>
                  <a:pt x="172595" y="711095"/>
                  <a:pt x="171881" y="711095"/>
                </a:cubicBezTo>
                <a:cubicBezTo>
                  <a:pt x="169025" y="709670"/>
                  <a:pt x="166168" y="708245"/>
                  <a:pt x="164026" y="706107"/>
                </a:cubicBezTo>
                <a:cubicBezTo>
                  <a:pt x="163312" y="706107"/>
                  <a:pt x="161884" y="705394"/>
                  <a:pt x="161170" y="704682"/>
                </a:cubicBezTo>
                <a:cubicBezTo>
                  <a:pt x="159742" y="703969"/>
                  <a:pt x="157599" y="702544"/>
                  <a:pt x="156171" y="701119"/>
                </a:cubicBezTo>
                <a:cubicBezTo>
                  <a:pt x="154743" y="701119"/>
                  <a:pt x="154029" y="700406"/>
                  <a:pt x="153315" y="699694"/>
                </a:cubicBezTo>
                <a:cubicBezTo>
                  <a:pt x="151173" y="698268"/>
                  <a:pt x="149745" y="697556"/>
                  <a:pt x="148316" y="696131"/>
                </a:cubicBezTo>
                <a:cubicBezTo>
                  <a:pt x="146888" y="695418"/>
                  <a:pt x="146174" y="694705"/>
                  <a:pt x="145460" y="693993"/>
                </a:cubicBezTo>
                <a:cubicBezTo>
                  <a:pt x="143318" y="692568"/>
                  <a:pt x="141890" y="691142"/>
                  <a:pt x="140461" y="690430"/>
                </a:cubicBezTo>
                <a:cubicBezTo>
                  <a:pt x="139747" y="689717"/>
                  <a:pt x="139033" y="689005"/>
                  <a:pt x="138319" y="688292"/>
                </a:cubicBezTo>
                <a:cubicBezTo>
                  <a:pt x="135463" y="686154"/>
                  <a:pt x="133321" y="684729"/>
                  <a:pt x="131178" y="682591"/>
                </a:cubicBezTo>
                <a:cubicBezTo>
                  <a:pt x="130464" y="681879"/>
                  <a:pt x="130464" y="681166"/>
                  <a:pt x="129750" y="681166"/>
                </a:cubicBezTo>
                <a:cubicBezTo>
                  <a:pt x="127608" y="679741"/>
                  <a:pt x="126180" y="677603"/>
                  <a:pt x="124038" y="676178"/>
                </a:cubicBezTo>
                <a:cubicBezTo>
                  <a:pt x="123323" y="675465"/>
                  <a:pt x="122609" y="674752"/>
                  <a:pt x="121895" y="674040"/>
                </a:cubicBezTo>
                <a:cubicBezTo>
                  <a:pt x="120467" y="672615"/>
                  <a:pt x="119039" y="671189"/>
                  <a:pt x="117611" y="669052"/>
                </a:cubicBezTo>
                <a:cubicBezTo>
                  <a:pt x="116897" y="668339"/>
                  <a:pt x="116183" y="667626"/>
                  <a:pt x="115469" y="666914"/>
                </a:cubicBezTo>
                <a:cubicBezTo>
                  <a:pt x="114040" y="665489"/>
                  <a:pt x="112612" y="664063"/>
                  <a:pt x="111184" y="661926"/>
                </a:cubicBezTo>
                <a:cubicBezTo>
                  <a:pt x="110470" y="661213"/>
                  <a:pt x="109756" y="660500"/>
                  <a:pt x="109756" y="659788"/>
                </a:cubicBezTo>
                <a:cubicBezTo>
                  <a:pt x="107614" y="657650"/>
                  <a:pt x="105471" y="655512"/>
                  <a:pt x="104043" y="652662"/>
                </a:cubicBezTo>
                <a:cubicBezTo>
                  <a:pt x="104043" y="652662"/>
                  <a:pt x="104043" y="652662"/>
                  <a:pt x="103329" y="652662"/>
                </a:cubicBezTo>
                <a:cubicBezTo>
                  <a:pt x="101901" y="649811"/>
                  <a:pt x="99759" y="647673"/>
                  <a:pt x="98331" y="644823"/>
                </a:cubicBezTo>
                <a:cubicBezTo>
                  <a:pt x="97616" y="644110"/>
                  <a:pt x="96902" y="643398"/>
                  <a:pt x="96902" y="642685"/>
                </a:cubicBezTo>
                <a:cubicBezTo>
                  <a:pt x="95474" y="640547"/>
                  <a:pt x="94046" y="639122"/>
                  <a:pt x="93332" y="636984"/>
                </a:cubicBezTo>
                <a:cubicBezTo>
                  <a:pt x="92618" y="636272"/>
                  <a:pt x="91904" y="635559"/>
                  <a:pt x="91190" y="634134"/>
                </a:cubicBezTo>
                <a:cubicBezTo>
                  <a:pt x="90476" y="632709"/>
                  <a:pt x="89047" y="630571"/>
                  <a:pt x="88333" y="629146"/>
                </a:cubicBezTo>
                <a:cubicBezTo>
                  <a:pt x="87619" y="628433"/>
                  <a:pt x="87619" y="627008"/>
                  <a:pt x="86905" y="626295"/>
                </a:cubicBezTo>
                <a:cubicBezTo>
                  <a:pt x="85477" y="624158"/>
                  <a:pt x="84763" y="622020"/>
                  <a:pt x="83335" y="619882"/>
                </a:cubicBezTo>
                <a:cubicBezTo>
                  <a:pt x="83335" y="619169"/>
                  <a:pt x="82621" y="618457"/>
                  <a:pt x="82621" y="617744"/>
                </a:cubicBezTo>
                <a:cubicBezTo>
                  <a:pt x="81193" y="614894"/>
                  <a:pt x="79764" y="612043"/>
                  <a:pt x="78336" y="609193"/>
                </a:cubicBezTo>
                <a:cubicBezTo>
                  <a:pt x="78336" y="608480"/>
                  <a:pt x="78336" y="607768"/>
                  <a:pt x="77622" y="607055"/>
                </a:cubicBezTo>
                <a:cubicBezTo>
                  <a:pt x="76908" y="604917"/>
                  <a:pt x="76194" y="602779"/>
                  <a:pt x="75480" y="600642"/>
                </a:cubicBezTo>
                <a:cubicBezTo>
                  <a:pt x="74766" y="599929"/>
                  <a:pt x="74052" y="598504"/>
                  <a:pt x="74052" y="597791"/>
                </a:cubicBezTo>
                <a:cubicBezTo>
                  <a:pt x="73338" y="595653"/>
                  <a:pt x="72624" y="593516"/>
                  <a:pt x="71909" y="592090"/>
                </a:cubicBezTo>
                <a:cubicBezTo>
                  <a:pt x="71909" y="590665"/>
                  <a:pt x="71195" y="589952"/>
                  <a:pt x="71195" y="588527"/>
                </a:cubicBezTo>
                <a:cubicBezTo>
                  <a:pt x="70481" y="586389"/>
                  <a:pt x="69767" y="584252"/>
                  <a:pt x="69053" y="582114"/>
                </a:cubicBezTo>
                <a:cubicBezTo>
                  <a:pt x="69053" y="581401"/>
                  <a:pt x="68339" y="579976"/>
                  <a:pt x="68339" y="579263"/>
                </a:cubicBezTo>
                <a:cubicBezTo>
                  <a:pt x="67625" y="576413"/>
                  <a:pt x="66911" y="573563"/>
                  <a:pt x="66197" y="570000"/>
                </a:cubicBezTo>
                <a:cubicBezTo>
                  <a:pt x="66197" y="569287"/>
                  <a:pt x="66197" y="569287"/>
                  <a:pt x="66197" y="568574"/>
                </a:cubicBezTo>
                <a:cubicBezTo>
                  <a:pt x="65483" y="565724"/>
                  <a:pt x="64769" y="563586"/>
                  <a:pt x="64769" y="560736"/>
                </a:cubicBezTo>
                <a:cubicBezTo>
                  <a:pt x="64055" y="559310"/>
                  <a:pt x="64055" y="558598"/>
                  <a:pt x="64055" y="557173"/>
                </a:cubicBezTo>
                <a:cubicBezTo>
                  <a:pt x="64055" y="555035"/>
                  <a:pt x="63340" y="552897"/>
                  <a:pt x="63340" y="550759"/>
                </a:cubicBezTo>
                <a:cubicBezTo>
                  <a:pt x="63340" y="550047"/>
                  <a:pt x="62626" y="548621"/>
                  <a:pt x="62626" y="547196"/>
                </a:cubicBezTo>
                <a:cubicBezTo>
                  <a:pt x="62626" y="545058"/>
                  <a:pt x="62626" y="542921"/>
                  <a:pt x="62626" y="540783"/>
                </a:cubicBezTo>
                <a:cubicBezTo>
                  <a:pt x="61912" y="540070"/>
                  <a:pt x="61912" y="538645"/>
                  <a:pt x="61912" y="537932"/>
                </a:cubicBezTo>
                <a:cubicBezTo>
                  <a:pt x="61912" y="534369"/>
                  <a:pt x="61912" y="530806"/>
                  <a:pt x="61912" y="527956"/>
                </a:cubicBezTo>
                <a:cubicBezTo>
                  <a:pt x="61912" y="423203"/>
                  <a:pt x="139747" y="336265"/>
                  <a:pt x="241861" y="322013"/>
                </a:cubicBezTo>
                <a:cubicBezTo>
                  <a:pt x="241861" y="314174"/>
                  <a:pt x="241147" y="306336"/>
                  <a:pt x="241147" y="297784"/>
                </a:cubicBezTo>
                <a:cubicBezTo>
                  <a:pt x="241147" y="167378"/>
                  <a:pt x="347546" y="61912"/>
                  <a:pt x="479651" y="61912"/>
                </a:cubicBezTo>
                <a:close/>
                <a:moveTo>
                  <a:pt x="479562" y="30162"/>
                </a:moveTo>
                <a:cubicBezTo>
                  <a:pt x="330953" y="30162"/>
                  <a:pt x="209494" y="149508"/>
                  <a:pt x="209494" y="297440"/>
                </a:cubicBezTo>
                <a:cubicBezTo>
                  <a:pt x="163053" y="309589"/>
                  <a:pt x="121614" y="335317"/>
                  <a:pt x="89463" y="371049"/>
                </a:cubicBezTo>
                <a:cubicBezTo>
                  <a:pt x="51596" y="414643"/>
                  <a:pt x="30162" y="470385"/>
                  <a:pt x="30162" y="528986"/>
                </a:cubicBezTo>
                <a:cubicBezTo>
                  <a:pt x="30162" y="532560"/>
                  <a:pt x="30162" y="536133"/>
                  <a:pt x="30162" y="540421"/>
                </a:cubicBezTo>
                <a:cubicBezTo>
                  <a:pt x="30162" y="541135"/>
                  <a:pt x="30877" y="541850"/>
                  <a:pt x="30877" y="543279"/>
                </a:cubicBezTo>
                <a:cubicBezTo>
                  <a:pt x="30877" y="543279"/>
                  <a:pt x="30877" y="543279"/>
                  <a:pt x="30877" y="543994"/>
                </a:cubicBezTo>
                <a:cubicBezTo>
                  <a:pt x="30877" y="546138"/>
                  <a:pt x="30877" y="548996"/>
                  <a:pt x="30877" y="551855"/>
                </a:cubicBezTo>
                <a:cubicBezTo>
                  <a:pt x="31591" y="552570"/>
                  <a:pt x="31591" y="553999"/>
                  <a:pt x="31591" y="555428"/>
                </a:cubicBezTo>
                <a:cubicBezTo>
                  <a:pt x="31591" y="558287"/>
                  <a:pt x="32306" y="560431"/>
                  <a:pt x="32306" y="563289"/>
                </a:cubicBezTo>
                <a:cubicBezTo>
                  <a:pt x="32306" y="563289"/>
                  <a:pt x="32306" y="563289"/>
                  <a:pt x="33020" y="564004"/>
                </a:cubicBezTo>
                <a:cubicBezTo>
                  <a:pt x="33020" y="564719"/>
                  <a:pt x="33020" y="566148"/>
                  <a:pt x="33020" y="566863"/>
                </a:cubicBezTo>
                <a:cubicBezTo>
                  <a:pt x="33735" y="569721"/>
                  <a:pt x="34449" y="572580"/>
                  <a:pt x="34449" y="575438"/>
                </a:cubicBezTo>
                <a:cubicBezTo>
                  <a:pt x="34449" y="575438"/>
                  <a:pt x="35164" y="576868"/>
                  <a:pt x="35164" y="577582"/>
                </a:cubicBezTo>
                <a:cubicBezTo>
                  <a:pt x="35878" y="581156"/>
                  <a:pt x="36592" y="584729"/>
                  <a:pt x="37307" y="588302"/>
                </a:cubicBezTo>
                <a:cubicBezTo>
                  <a:pt x="38021" y="589017"/>
                  <a:pt x="38021" y="589731"/>
                  <a:pt x="38021" y="590446"/>
                </a:cubicBezTo>
                <a:cubicBezTo>
                  <a:pt x="38021" y="590446"/>
                  <a:pt x="38021" y="590446"/>
                  <a:pt x="38736" y="591161"/>
                </a:cubicBezTo>
                <a:cubicBezTo>
                  <a:pt x="39450" y="594019"/>
                  <a:pt x="40165" y="596163"/>
                  <a:pt x="40879" y="599022"/>
                </a:cubicBezTo>
                <a:cubicBezTo>
                  <a:pt x="40879" y="599736"/>
                  <a:pt x="41594" y="602595"/>
                  <a:pt x="41594" y="602595"/>
                </a:cubicBezTo>
                <a:cubicBezTo>
                  <a:pt x="42308" y="604739"/>
                  <a:pt x="43023" y="606883"/>
                  <a:pt x="44452" y="609741"/>
                </a:cubicBezTo>
                <a:cubicBezTo>
                  <a:pt x="44452" y="609741"/>
                  <a:pt x="44452" y="609741"/>
                  <a:pt x="44452" y="610456"/>
                </a:cubicBezTo>
                <a:cubicBezTo>
                  <a:pt x="44452" y="611171"/>
                  <a:pt x="45166" y="611885"/>
                  <a:pt x="45166" y="613315"/>
                </a:cubicBezTo>
                <a:cubicBezTo>
                  <a:pt x="46595" y="615459"/>
                  <a:pt x="47309" y="618317"/>
                  <a:pt x="48024" y="620461"/>
                </a:cubicBezTo>
                <a:cubicBezTo>
                  <a:pt x="48024" y="620461"/>
                  <a:pt x="48024" y="620461"/>
                  <a:pt x="48738" y="621176"/>
                </a:cubicBezTo>
                <a:cubicBezTo>
                  <a:pt x="48738" y="621891"/>
                  <a:pt x="49453" y="622605"/>
                  <a:pt x="49453" y="623320"/>
                </a:cubicBezTo>
                <a:cubicBezTo>
                  <a:pt x="50882" y="626893"/>
                  <a:pt x="52311" y="629752"/>
                  <a:pt x="53740" y="633325"/>
                </a:cubicBezTo>
                <a:cubicBezTo>
                  <a:pt x="54454" y="633325"/>
                  <a:pt x="55169" y="634754"/>
                  <a:pt x="55169" y="634754"/>
                </a:cubicBezTo>
                <a:cubicBezTo>
                  <a:pt x="55883" y="637613"/>
                  <a:pt x="57312" y="639757"/>
                  <a:pt x="58741" y="642615"/>
                </a:cubicBezTo>
                <a:cubicBezTo>
                  <a:pt x="59455" y="643330"/>
                  <a:pt x="60170" y="644759"/>
                  <a:pt x="60170" y="645474"/>
                </a:cubicBezTo>
                <a:cubicBezTo>
                  <a:pt x="60170" y="645474"/>
                  <a:pt x="60170" y="645474"/>
                  <a:pt x="60884" y="645474"/>
                </a:cubicBezTo>
                <a:cubicBezTo>
                  <a:pt x="61599" y="647618"/>
                  <a:pt x="63028" y="649762"/>
                  <a:pt x="64457" y="651906"/>
                </a:cubicBezTo>
                <a:cubicBezTo>
                  <a:pt x="65171" y="653335"/>
                  <a:pt x="65886" y="654050"/>
                  <a:pt x="66600" y="655479"/>
                </a:cubicBezTo>
                <a:cubicBezTo>
                  <a:pt x="67315" y="657623"/>
                  <a:pt x="68743" y="659767"/>
                  <a:pt x="70172" y="661196"/>
                </a:cubicBezTo>
                <a:cubicBezTo>
                  <a:pt x="70172" y="661196"/>
                  <a:pt x="70172" y="661196"/>
                  <a:pt x="70887" y="661911"/>
                </a:cubicBezTo>
                <a:cubicBezTo>
                  <a:pt x="70887" y="662625"/>
                  <a:pt x="71601" y="663340"/>
                  <a:pt x="72316" y="664055"/>
                </a:cubicBezTo>
                <a:cubicBezTo>
                  <a:pt x="74459" y="667628"/>
                  <a:pt x="76603" y="670487"/>
                  <a:pt x="78032" y="672630"/>
                </a:cubicBezTo>
                <a:cubicBezTo>
                  <a:pt x="78746" y="673345"/>
                  <a:pt x="78746" y="673345"/>
                  <a:pt x="78746" y="673345"/>
                </a:cubicBezTo>
                <a:cubicBezTo>
                  <a:pt x="80889" y="676204"/>
                  <a:pt x="83033" y="678348"/>
                  <a:pt x="85176" y="681206"/>
                </a:cubicBezTo>
                <a:cubicBezTo>
                  <a:pt x="85176" y="681921"/>
                  <a:pt x="85891" y="682636"/>
                  <a:pt x="86605" y="683350"/>
                </a:cubicBezTo>
                <a:cubicBezTo>
                  <a:pt x="86605" y="683350"/>
                  <a:pt x="86605" y="683350"/>
                  <a:pt x="87320" y="684065"/>
                </a:cubicBezTo>
                <a:cubicBezTo>
                  <a:pt x="88749" y="685494"/>
                  <a:pt x="90178" y="687638"/>
                  <a:pt x="91606" y="689067"/>
                </a:cubicBezTo>
                <a:cubicBezTo>
                  <a:pt x="93035" y="690497"/>
                  <a:pt x="93750" y="691211"/>
                  <a:pt x="94464" y="691926"/>
                </a:cubicBezTo>
                <a:cubicBezTo>
                  <a:pt x="95893" y="694070"/>
                  <a:pt x="98037" y="695499"/>
                  <a:pt x="99466" y="697643"/>
                </a:cubicBezTo>
                <a:cubicBezTo>
                  <a:pt x="99466" y="697643"/>
                  <a:pt x="99466" y="697643"/>
                  <a:pt x="100180" y="697643"/>
                </a:cubicBezTo>
                <a:cubicBezTo>
                  <a:pt x="100895" y="698358"/>
                  <a:pt x="101609" y="699072"/>
                  <a:pt x="102323" y="699787"/>
                </a:cubicBezTo>
                <a:cubicBezTo>
                  <a:pt x="103752" y="701931"/>
                  <a:pt x="105896" y="704075"/>
                  <a:pt x="108039" y="705504"/>
                </a:cubicBezTo>
                <a:cubicBezTo>
                  <a:pt x="108039" y="705504"/>
                  <a:pt x="108039" y="705504"/>
                  <a:pt x="108754" y="706219"/>
                </a:cubicBezTo>
                <a:cubicBezTo>
                  <a:pt x="108754" y="706219"/>
                  <a:pt x="108754" y="706219"/>
                  <a:pt x="109468" y="706934"/>
                </a:cubicBezTo>
                <a:cubicBezTo>
                  <a:pt x="112326" y="709792"/>
                  <a:pt x="115184" y="711936"/>
                  <a:pt x="118042" y="714080"/>
                </a:cubicBezTo>
                <a:cubicBezTo>
                  <a:pt x="118756" y="714795"/>
                  <a:pt x="118756" y="714795"/>
                  <a:pt x="119471" y="715509"/>
                </a:cubicBezTo>
                <a:cubicBezTo>
                  <a:pt x="119471" y="715509"/>
                  <a:pt x="119471" y="715509"/>
                  <a:pt x="120185" y="716224"/>
                </a:cubicBezTo>
                <a:cubicBezTo>
                  <a:pt x="122329" y="717653"/>
                  <a:pt x="124472" y="719083"/>
                  <a:pt x="125901" y="720512"/>
                </a:cubicBezTo>
                <a:cubicBezTo>
                  <a:pt x="127330" y="721227"/>
                  <a:pt x="128044" y="721941"/>
                  <a:pt x="128759" y="722656"/>
                </a:cubicBezTo>
                <a:cubicBezTo>
                  <a:pt x="128759" y="722656"/>
                  <a:pt x="128759" y="722656"/>
                  <a:pt x="129473" y="723370"/>
                </a:cubicBezTo>
                <a:cubicBezTo>
                  <a:pt x="130902" y="724085"/>
                  <a:pt x="133046" y="725514"/>
                  <a:pt x="135189" y="726944"/>
                </a:cubicBezTo>
                <a:cubicBezTo>
                  <a:pt x="135189" y="726944"/>
                  <a:pt x="135189" y="726944"/>
                  <a:pt x="135189" y="727658"/>
                </a:cubicBezTo>
                <a:cubicBezTo>
                  <a:pt x="136618" y="727658"/>
                  <a:pt x="137332" y="728373"/>
                  <a:pt x="138047" y="729088"/>
                </a:cubicBezTo>
                <a:cubicBezTo>
                  <a:pt x="140190" y="730517"/>
                  <a:pt x="142334" y="731946"/>
                  <a:pt x="144477" y="733376"/>
                </a:cubicBezTo>
                <a:cubicBezTo>
                  <a:pt x="144477" y="733376"/>
                  <a:pt x="144477" y="733376"/>
                  <a:pt x="145192" y="733376"/>
                </a:cubicBezTo>
                <a:cubicBezTo>
                  <a:pt x="145906" y="734090"/>
                  <a:pt x="146620" y="734805"/>
                  <a:pt x="147335" y="734805"/>
                </a:cubicBezTo>
                <a:cubicBezTo>
                  <a:pt x="150193" y="736949"/>
                  <a:pt x="153765" y="738378"/>
                  <a:pt x="156623" y="739807"/>
                </a:cubicBezTo>
                <a:cubicBezTo>
                  <a:pt x="157337" y="740522"/>
                  <a:pt x="158052" y="740522"/>
                  <a:pt x="158766" y="741237"/>
                </a:cubicBezTo>
                <a:cubicBezTo>
                  <a:pt x="161624" y="742666"/>
                  <a:pt x="163768" y="744095"/>
                  <a:pt x="165911" y="744810"/>
                </a:cubicBezTo>
                <a:cubicBezTo>
                  <a:pt x="167340" y="745525"/>
                  <a:pt x="168054" y="746239"/>
                  <a:pt x="168769" y="746239"/>
                </a:cubicBezTo>
                <a:cubicBezTo>
                  <a:pt x="168769" y="746239"/>
                  <a:pt x="168769" y="746239"/>
                  <a:pt x="169483" y="746954"/>
                </a:cubicBezTo>
                <a:cubicBezTo>
                  <a:pt x="171627" y="747669"/>
                  <a:pt x="173770" y="748383"/>
                  <a:pt x="175914" y="749812"/>
                </a:cubicBezTo>
                <a:cubicBezTo>
                  <a:pt x="177343" y="749812"/>
                  <a:pt x="178771" y="750527"/>
                  <a:pt x="180200" y="751242"/>
                </a:cubicBezTo>
                <a:cubicBezTo>
                  <a:pt x="182344" y="751956"/>
                  <a:pt x="184487" y="752671"/>
                  <a:pt x="186631" y="754100"/>
                </a:cubicBezTo>
                <a:cubicBezTo>
                  <a:pt x="186631" y="754100"/>
                  <a:pt x="186631" y="754100"/>
                  <a:pt x="187345" y="754100"/>
                </a:cubicBezTo>
                <a:cubicBezTo>
                  <a:pt x="188060" y="754100"/>
                  <a:pt x="188774" y="754815"/>
                  <a:pt x="189488" y="754815"/>
                </a:cubicBezTo>
                <a:cubicBezTo>
                  <a:pt x="189488" y="754815"/>
                  <a:pt x="190917" y="756959"/>
                  <a:pt x="191632" y="757674"/>
                </a:cubicBezTo>
                <a:cubicBezTo>
                  <a:pt x="193775" y="760532"/>
                  <a:pt x="195919" y="763391"/>
                  <a:pt x="198062" y="765535"/>
                </a:cubicBezTo>
                <a:cubicBezTo>
                  <a:pt x="198777" y="766249"/>
                  <a:pt x="199491" y="766964"/>
                  <a:pt x="199491" y="767679"/>
                </a:cubicBezTo>
                <a:cubicBezTo>
                  <a:pt x="199491" y="767679"/>
                  <a:pt x="199491" y="767679"/>
                  <a:pt x="200206" y="768393"/>
                </a:cubicBezTo>
                <a:cubicBezTo>
                  <a:pt x="202349" y="770537"/>
                  <a:pt x="203778" y="772681"/>
                  <a:pt x="205921" y="774825"/>
                </a:cubicBezTo>
                <a:cubicBezTo>
                  <a:pt x="205921" y="774825"/>
                  <a:pt x="207350" y="776254"/>
                  <a:pt x="207350" y="776969"/>
                </a:cubicBezTo>
                <a:cubicBezTo>
                  <a:pt x="209494" y="779113"/>
                  <a:pt x="212351" y="781257"/>
                  <a:pt x="214495" y="784116"/>
                </a:cubicBezTo>
                <a:cubicBezTo>
                  <a:pt x="215209" y="784830"/>
                  <a:pt x="216638" y="785545"/>
                  <a:pt x="217353" y="786974"/>
                </a:cubicBezTo>
                <a:cubicBezTo>
                  <a:pt x="219496" y="789118"/>
                  <a:pt x="222354" y="791262"/>
                  <a:pt x="224497" y="793406"/>
                </a:cubicBezTo>
                <a:cubicBezTo>
                  <a:pt x="225212" y="794121"/>
                  <a:pt x="225926" y="795550"/>
                  <a:pt x="225926" y="795550"/>
                </a:cubicBezTo>
                <a:cubicBezTo>
                  <a:pt x="228070" y="796979"/>
                  <a:pt x="230928" y="799123"/>
                  <a:pt x="233071" y="801267"/>
                </a:cubicBezTo>
                <a:cubicBezTo>
                  <a:pt x="233071" y="801267"/>
                  <a:pt x="234500" y="802696"/>
                  <a:pt x="235214" y="803411"/>
                </a:cubicBezTo>
                <a:cubicBezTo>
                  <a:pt x="238072" y="805555"/>
                  <a:pt x="240930" y="807699"/>
                  <a:pt x="243788" y="809128"/>
                </a:cubicBezTo>
                <a:cubicBezTo>
                  <a:pt x="243788" y="809843"/>
                  <a:pt x="244502" y="810558"/>
                  <a:pt x="245217" y="810558"/>
                </a:cubicBezTo>
                <a:cubicBezTo>
                  <a:pt x="245217" y="810558"/>
                  <a:pt x="245217" y="810558"/>
                  <a:pt x="245931" y="811272"/>
                </a:cubicBezTo>
                <a:cubicBezTo>
                  <a:pt x="248075" y="812701"/>
                  <a:pt x="250933" y="814845"/>
                  <a:pt x="253076" y="816275"/>
                </a:cubicBezTo>
                <a:cubicBezTo>
                  <a:pt x="253076" y="816275"/>
                  <a:pt x="254505" y="817704"/>
                  <a:pt x="255219" y="817704"/>
                </a:cubicBezTo>
                <a:cubicBezTo>
                  <a:pt x="258077" y="819848"/>
                  <a:pt x="260935" y="821277"/>
                  <a:pt x="263793" y="823421"/>
                </a:cubicBezTo>
                <a:cubicBezTo>
                  <a:pt x="265222" y="824136"/>
                  <a:pt x="265937" y="824850"/>
                  <a:pt x="266651" y="824850"/>
                </a:cubicBezTo>
                <a:cubicBezTo>
                  <a:pt x="270223" y="826994"/>
                  <a:pt x="273081" y="829138"/>
                  <a:pt x="275939" y="830568"/>
                </a:cubicBezTo>
                <a:cubicBezTo>
                  <a:pt x="276654" y="830568"/>
                  <a:pt x="276654" y="830568"/>
                  <a:pt x="277368" y="831282"/>
                </a:cubicBezTo>
                <a:cubicBezTo>
                  <a:pt x="280226" y="832712"/>
                  <a:pt x="283084" y="834141"/>
                  <a:pt x="285942" y="835570"/>
                </a:cubicBezTo>
                <a:cubicBezTo>
                  <a:pt x="285942" y="835570"/>
                  <a:pt x="288085" y="836285"/>
                  <a:pt x="288799" y="836999"/>
                </a:cubicBezTo>
                <a:cubicBezTo>
                  <a:pt x="291657" y="838429"/>
                  <a:pt x="295230" y="839858"/>
                  <a:pt x="298802" y="841287"/>
                </a:cubicBezTo>
                <a:cubicBezTo>
                  <a:pt x="298802" y="841287"/>
                  <a:pt x="298802" y="841287"/>
                  <a:pt x="300945" y="842002"/>
                </a:cubicBezTo>
                <a:cubicBezTo>
                  <a:pt x="303803" y="843431"/>
                  <a:pt x="306661" y="844861"/>
                  <a:pt x="309519" y="845575"/>
                </a:cubicBezTo>
                <a:cubicBezTo>
                  <a:pt x="309519" y="845575"/>
                  <a:pt x="309519" y="845575"/>
                  <a:pt x="311662" y="846290"/>
                </a:cubicBezTo>
                <a:cubicBezTo>
                  <a:pt x="315235" y="847719"/>
                  <a:pt x="318807" y="849148"/>
                  <a:pt x="322379" y="849863"/>
                </a:cubicBezTo>
                <a:cubicBezTo>
                  <a:pt x="322379" y="849863"/>
                  <a:pt x="322379" y="849863"/>
                  <a:pt x="324523" y="850578"/>
                </a:cubicBezTo>
                <a:cubicBezTo>
                  <a:pt x="328810" y="852007"/>
                  <a:pt x="332382" y="853436"/>
                  <a:pt x="335240" y="854151"/>
                </a:cubicBezTo>
                <a:cubicBezTo>
                  <a:pt x="335954" y="854151"/>
                  <a:pt x="335954" y="854151"/>
                  <a:pt x="336669" y="854151"/>
                </a:cubicBezTo>
                <a:cubicBezTo>
                  <a:pt x="339527" y="854866"/>
                  <a:pt x="343099" y="855580"/>
                  <a:pt x="347386" y="857010"/>
                </a:cubicBezTo>
                <a:cubicBezTo>
                  <a:pt x="347386" y="857010"/>
                  <a:pt x="347386" y="857010"/>
                  <a:pt x="349529" y="857010"/>
                </a:cubicBezTo>
                <a:cubicBezTo>
                  <a:pt x="353102" y="857724"/>
                  <a:pt x="357388" y="858439"/>
                  <a:pt x="360961" y="859154"/>
                </a:cubicBezTo>
                <a:cubicBezTo>
                  <a:pt x="360961" y="859154"/>
                  <a:pt x="360961" y="859154"/>
                  <a:pt x="363104" y="859154"/>
                </a:cubicBezTo>
                <a:cubicBezTo>
                  <a:pt x="365962" y="859868"/>
                  <a:pt x="369534" y="860583"/>
                  <a:pt x="373107" y="860583"/>
                </a:cubicBezTo>
                <a:cubicBezTo>
                  <a:pt x="373107" y="860583"/>
                  <a:pt x="373107" y="860583"/>
                  <a:pt x="375250" y="861298"/>
                </a:cubicBezTo>
                <a:cubicBezTo>
                  <a:pt x="378822" y="861298"/>
                  <a:pt x="383109" y="862012"/>
                  <a:pt x="386682" y="862012"/>
                </a:cubicBezTo>
                <a:cubicBezTo>
                  <a:pt x="387396" y="862012"/>
                  <a:pt x="388825" y="862012"/>
                  <a:pt x="389539" y="862012"/>
                </a:cubicBezTo>
                <a:cubicBezTo>
                  <a:pt x="393826" y="862012"/>
                  <a:pt x="397399" y="862012"/>
                  <a:pt x="401685" y="862012"/>
                </a:cubicBezTo>
                <a:cubicBezTo>
                  <a:pt x="405258" y="862012"/>
                  <a:pt x="409544" y="862012"/>
                  <a:pt x="414546" y="862012"/>
                </a:cubicBezTo>
                <a:cubicBezTo>
                  <a:pt x="414546" y="862012"/>
                  <a:pt x="414546" y="862012"/>
                  <a:pt x="415260" y="862012"/>
                </a:cubicBezTo>
                <a:cubicBezTo>
                  <a:pt x="418833" y="862012"/>
                  <a:pt x="423119" y="861298"/>
                  <a:pt x="425977" y="861298"/>
                </a:cubicBezTo>
                <a:cubicBezTo>
                  <a:pt x="425977" y="861298"/>
                  <a:pt x="425977" y="861298"/>
                  <a:pt x="428121" y="860583"/>
                </a:cubicBezTo>
                <a:cubicBezTo>
                  <a:pt x="432407" y="860583"/>
                  <a:pt x="435980" y="859868"/>
                  <a:pt x="439552" y="859154"/>
                </a:cubicBezTo>
                <a:cubicBezTo>
                  <a:pt x="439552" y="859154"/>
                  <a:pt x="439552" y="859154"/>
                  <a:pt x="441696" y="859154"/>
                </a:cubicBezTo>
                <a:cubicBezTo>
                  <a:pt x="445982" y="858439"/>
                  <a:pt x="449555" y="857724"/>
                  <a:pt x="452413" y="857010"/>
                </a:cubicBezTo>
                <a:cubicBezTo>
                  <a:pt x="453127" y="857010"/>
                  <a:pt x="455270" y="857010"/>
                  <a:pt x="455270" y="857010"/>
                </a:cubicBezTo>
                <a:cubicBezTo>
                  <a:pt x="458843" y="855580"/>
                  <a:pt x="462415" y="854866"/>
                  <a:pt x="465987" y="854151"/>
                </a:cubicBezTo>
                <a:cubicBezTo>
                  <a:pt x="465987" y="854151"/>
                  <a:pt x="465987" y="854151"/>
                  <a:pt x="468131" y="853436"/>
                </a:cubicBezTo>
                <a:cubicBezTo>
                  <a:pt x="470989" y="852722"/>
                  <a:pt x="473847" y="852007"/>
                  <a:pt x="477419" y="851292"/>
                </a:cubicBezTo>
                <a:cubicBezTo>
                  <a:pt x="477419" y="851292"/>
                  <a:pt x="478848" y="850578"/>
                  <a:pt x="479562" y="849863"/>
                </a:cubicBezTo>
                <a:cubicBezTo>
                  <a:pt x="483135" y="849148"/>
                  <a:pt x="485992" y="848434"/>
                  <a:pt x="488850" y="847005"/>
                </a:cubicBezTo>
                <a:cubicBezTo>
                  <a:pt x="488850" y="847005"/>
                  <a:pt x="488850" y="847005"/>
                  <a:pt x="489565" y="847005"/>
                </a:cubicBezTo>
                <a:cubicBezTo>
                  <a:pt x="490279" y="846290"/>
                  <a:pt x="490994" y="846290"/>
                  <a:pt x="492423" y="845575"/>
                </a:cubicBezTo>
                <a:cubicBezTo>
                  <a:pt x="495281" y="844861"/>
                  <a:pt x="498138" y="843431"/>
                  <a:pt x="500996" y="842717"/>
                </a:cubicBezTo>
                <a:cubicBezTo>
                  <a:pt x="502425" y="842002"/>
                  <a:pt x="503140" y="841287"/>
                  <a:pt x="504569" y="840573"/>
                </a:cubicBezTo>
                <a:cubicBezTo>
                  <a:pt x="507427" y="839858"/>
                  <a:pt x="510284" y="838429"/>
                  <a:pt x="512428" y="836999"/>
                </a:cubicBezTo>
                <a:cubicBezTo>
                  <a:pt x="513857" y="836285"/>
                  <a:pt x="515286" y="835570"/>
                  <a:pt x="516715" y="834856"/>
                </a:cubicBezTo>
                <a:cubicBezTo>
                  <a:pt x="518858" y="834141"/>
                  <a:pt x="521001" y="833426"/>
                  <a:pt x="523145" y="831997"/>
                </a:cubicBezTo>
                <a:cubicBezTo>
                  <a:pt x="525288" y="831282"/>
                  <a:pt x="526717" y="829853"/>
                  <a:pt x="528861" y="829138"/>
                </a:cubicBezTo>
                <a:cubicBezTo>
                  <a:pt x="530289" y="827709"/>
                  <a:pt x="531718" y="826994"/>
                  <a:pt x="533147" y="826280"/>
                </a:cubicBezTo>
                <a:cubicBezTo>
                  <a:pt x="536005" y="824850"/>
                  <a:pt x="538149" y="823421"/>
                  <a:pt x="541006" y="821992"/>
                </a:cubicBezTo>
                <a:cubicBezTo>
                  <a:pt x="541721" y="821277"/>
                  <a:pt x="543150" y="820563"/>
                  <a:pt x="543864" y="819848"/>
                </a:cubicBezTo>
                <a:cubicBezTo>
                  <a:pt x="546722" y="817704"/>
                  <a:pt x="549580" y="816275"/>
                  <a:pt x="552438" y="814131"/>
                </a:cubicBezTo>
                <a:cubicBezTo>
                  <a:pt x="552438" y="814131"/>
                  <a:pt x="553867" y="812701"/>
                  <a:pt x="554581" y="812701"/>
                </a:cubicBezTo>
                <a:cubicBezTo>
                  <a:pt x="563155" y="806270"/>
                  <a:pt x="571014" y="799838"/>
                  <a:pt x="578159" y="793406"/>
                </a:cubicBezTo>
                <a:cubicBezTo>
                  <a:pt x="580302" y="794121"/>
                  <a:pt x="581731" y="795550"/>
                  <a:pt x="583875" y="796979"/>
                </a:cubicBezTo>
                <a:cubicBezTo>
                  <a:pt x="583875" y="796979"/>
                  <a:pt x="583875" y="796979"/>
                  <a:pt x="585303" y="798409"/>
                </a:cubicBezTo>
                <a:cubicBezTo>
                  <a:pt x="585303" y="798409"/>
                  <a:pt x="585303" y="798409"/>
                  <a:pt x="586732" y="799123"/>
                </a:cubicBezTo>
                <a:cubicBezTo>
                  <a:pt x="588876" y="800552"/>
                  <a:pt x="591734" y="801982"/>
                  <a:pt x="593877" y="803411"/>
                </a:cubicBezTo>
                <a:cubicBezTo>
                  <a:pt x="596735" y="804840"/>
                  <a:pt x="599593" y="806984"/>
                  <a:pt x="602451" y="808414"/>
                </a:cubicBezTo>
                <a:cubicBezTo>
                  <a:pt x="602451" y="808414"/>
                  <a:pt x="602451" y="808414"/>
                  <a:pt x="603165" y="808414"/>
                </a:cubicBezTo>
                <a:cubicBezTo>
                  <a:pt x="606023" y="809843"/>
                  <a:pt x="608881" y="811272"/>
                  <a:pt x="611739" y="812701"/>
                </a:cubicBezTo>
                <a:cubicBezTo>
                  <a:pt x="611739" y="812701"/>
                  <a:pt x="612453" y="812701"/>
                  <a:pt x="612453" y="813416"/>
                </a:cubicBezTo>
                <a:cubicBezTo>
                  <a:pt x="615311" y="814845"/>
                  <a:pt x="618169" y="815560"/>
                  <a:pt x="621027" y="816989"/>
                </a:cubicBezTo>
                <a:cubicBezTo>
                  <a:pt x="621027" y="816989"/>
                  <a:pt x="621741" y="816989"/>
                  <a:pt x="622456" y="817704"/>
                </a:cubicBezTo>
                <a:cubicBezTo>
                  <a:pt x="624599" y="818419"/>
                  <a:pt x="627457" y="819848"/>
                  <a:pt x="630315" y="820563"/>
                </a:cubicBezTo>
                <a:cubicBezTo>
                  <a:pt x="631029" y="820563"/>
                  <a:pt x="631029" y="820563"/>
                  <a:pt x="632458" y="821277"/>
                </a:cubicBezTo>
                <a:cubicBezTo>
                  <a:pt x="634602" y="821992"/>
                  <a:pt x="637460" y="822707"/>
                  <a:pt x="640317" y="824136"/>
                </a:cubicBezTo>
                <a:cubicBezTo>
                  <a:pt x="640317" y="824136"/>
                  <a:pt x="641032" y="824136"/>
                  <a:pt x="641746" y="824136"/>
                </a:cubicBezTo>
                <a:cubicBezTo>
                  <a:pt x="641746" y="824136"/>
                  <a:pt x="641746" y="824136"/>
                  <a:pt x="642461" y="824850"/>
                </a:cubicBezTo>
                <a:cubicBezTo>
                  <a:pt x="645319" y="825565"/>
                  <a:pt x="647462" y="826280"/>
                  <a:pt x="649606" y="826280"/>
                </a:cubicBezTo>
                <a:cubicBezTo>
                  <a:pt x="650320" y="826994"/>
                  <a:pt x="651749" y="826994"/>
                  <a:pt x="652463" y="826994"/>
                </a:cubicBezTo>
                <a:cubicBezTo>
                  <a:pt x="652463" y="826994"/>
                  <a:pt x="652463" y="826994"/>
                  <a:pt x="653892" y="827709"/>
                </a:cubicBezTo>
                <a:cubicBezTo>
                  <a:pt x="656036" y="827709"/>
                  <a:pt x="658179" y="828424"/>
                  <a:pt x="659608" y="829138"/>
                </a:cubicBezTo>
                <a:cubicBezTo>
                  <a:pt x="661037" y="829138"/>
                  <a:pt x="661751" y="829138"/>
                  <a:pt x="663180" y="829138"/>
                </a:cubicBezTo>
                <a:cubicBezTo>
                  <a:pt x="663180" y="829138"/>
                  <a:pt x="663180" y="829138"/>
                  <a:pt x="665324" y="829853"/>
                </a:cubicBezTo>
                <a:cubicBezTo>
                  <a:pt x="666753" y="829853"/>
                  <a:pt x="668182" y="830568"/>
                  <a:pt x="670325" y="830568"/>
                </a:cubicBezTo>
                <a:cubicBezTo>
                  <a:pt x="671754" y="830568"/>
                  <a:pt x="673183" y="831282"/>
                  <a:pt x="673897" y="831282"/>
                </a:cubicBezTo>
                <a:cubicBezTo>
                  <a:pt x="673897" y="831282"/>
                  <a:pt x="673897" y="831282"/>
                  <a:pt x="676755" y="831282"/>
                </a:cubicBezTo>
                <a:cubicBezTo>
                  <a:pt x="678184" y="831997"/>
                  <a:pt x="679613" y="831997"/>
                  <a:pt x="681042" y="831997"/>
                </a:cubicBezTo>
                <a:cubicBezTo>
                  <a:pt x="682471" y="831997"/>
                  <a:pt x="684614" y="831997"/>
                  <a:pt x="686043" y="832712"/>
                </a:cubicBezTo>
                <a:cubicBezTo>
                  <a:pt x="686043" y="832712"/>
                  <a:pt x="686043" y="832712"/>
                  <a:pt x="688187" y="832712"/>
                </a:cubicBezTo>
                <a:cubicBezTo>
                  <a:pt x="689616" y="832712"/>
                  <a:pt x="690330" y="832712"/>
                  <a:pt x="691759" y="832712"/>
                </a:cubicBezTo>
                <a:cubicBezTo>
                  <a:pt x="695331" y="832712"/>
                  <a:pt x="698904" y="833426"/>
                  <a:pt x="702476" y="833426"/>
                </a:cubicBezTo>
                <a:cubicBezTo>
                  <a:pt x="706048" y="833426"/>
                  <a:pt x="709621" y="832712"/>
                  <a:pt x="712479" y="832712"/>
                </a:cubicBezTo>
                <a:cubicBezTo>
                  <a:pt x="713908" y="832712"/>
                  <a:pt x="714622" y="832712"/>
                  <a:pt x="716051" y="832712"/>
                </a:cubicBezTo>
                <a:cubicBezTo>
                  <a:pt x="716051" y="832712"/>
                  <a:pt x="716051" y="832712"/>
                  <a:pt x="717480" y="832712"/>
                </a:cubicBezTo>
                <a:cubicBezTo>
                  <a:pt x="719623" y="832712"/>
                  <a:pt x="721767" y="831997"/>
                  <a:pt x="723196" y="831997"/>
                </a:cubicBezTo>
                <a:cubicBezTo>
                  <a:pt x="724625" y="831997"/>
                  <a:pt x="726054" y="831997"/>
                  <a:pt x="726768" y="831282"/>
                </a:cubicBezTo>
                <a:cubicBezTo>
                  <a:pt x="726768" y="831282"/>
                  <a:pt x="726768" y="831282"/>
                  <a:pt x="728911" y="831282"/>
                </a:cubicBezTo>
                <a:cubicBezTo>
                  <a:pt x="731055" y="831282"/>
                  <a:pt x="732484" y="831282"/>
                  <a:pt x="733913" y="830568"/>
                </a:cubicBezTo>
                <a:cubicBezTo>
                  <a:pt x="735342" y="830568"/>
                  <a:pt x="736771" y="830568"/>
                  <a:pt x="737485" y="829853"/>
                </a:cubicBezTo>
                <a:cubicBezTo>
                  <a:pt x="737485" y="829853"/>
                  <a:pt x="737485" y="829853"/>
                  <a:pt x="739628" y="829853"/>
                </a:cubicBezTo>
                <a:cubicBezTo>
                  <a:pt x="741057" y="829138"/>
                  <a:pt x="742486" y="829138"/>
                  <a:pt x="743915" y="829138"/>
                </a:cubicBezTo>
                <a:cubicBezTo>
                  <a:pt x="745344" y="828424"/>
                  <a:pt x="746773" y="828424"/>
                  <a:pt x="748202" y="827709"/>
                </a:cubicBezTo>
                <a:cubicBezTo>
                  <a:pt x="748202" y="827709"/>
                  <a:pt x="748202" y="827709"/>
                  <a:pt x="750345" y="827709"/>
                </a:cubicBezTo>
                <a:cubicBezTo>
                  <a:pt x="751774" y="826994"/>
                  <a:pt x="752489" y="826994"/>
                  <a:pt x="753918" y="826994"/>
                </a:cubicBezTo>
                <a:cubicBezTo>
                  <a:pt x="755347" y="826280"/>
                  <a:pt x="757490" y="825565"/>
                  <a:pt x="758919" y="825565"/>
                </a:cubicBezTo>
                <a:cubicBezTo>
                  <a:pt x="758919" y="825565"/>
                  <a:pt x="758919" y="825565"/>
                  <a:pt x="760348" y="824850"/>
                </a:cubicBezTo>
                <a:cubicBezTo>
                  <a:pt x="761777" y="824850"/>
                  <a:pt x="762491" y="824136"/>
                  <a:pt x="763920" y="824136"/>
                </a:cubicBezTo>
                <a:cubicBezTo>
                  <a:pt x="765349" y="823421"/>
                  <a:pt x="767493" y="822707"/>
                  <a:pt x="769636" y="821992"/>
                </a:cubicBezTo>
                <a:cubicBezTo>
                  <a:pt x="771065" y="821277"/>
                  <a:pt x="772494" y="821277"/>
                  <a:pt x="773208" y="820563"/>
                </a:cubicBezTo>
                <a:cubicBezTo>
                  <a:pt x="775352" y="819848"/>
                  <a:pt x="777495" y="819133"/>
                  <a:pt x="778924" y="818419"/>
                </a:cubicBezTo>
                <a:cubicBezTo>
                  <a:pt x="778924" y="818419"/>
                  <a:pt x="778924" y="818419"/>
                  <a:pt x="779639" y="818419"/>
                </a:cubicBezTo>
                <a:cubicBezTo>
                  <a:pt x="780353" y="818419"/>
                  <a:pt x="781782" y="817704"/>
                  <a:pt x="782496" y="816989"/>
                </a:cubicBezTo>
                <a:cubicBezTo>
                  <a:pt x="784640" y="816275"/>
                  <a:pt x="786783" y="815560"/>
                  <a:pt x="788927" y="814845"/>
                </a:cubicBezTo>
                <a:cubicBezTo>
                  <a:pt x="789641" y="814131"/>
                  <a:pt x="791070" y="813416"/>
                  <a:pt x="791785" y="813416"/>
                </a:cubicBezTo>
                <a:cubicBezTo>
                  <a:pt x="793928" y="812701"/>
                  <a:pt x="796071" y="811272"/>
                  <a:pt x="798215" y="810558"/>
                </a:cubicBezTo>
                <a:cubicBezTo>
                  <a:pt x="798215" y="810558"/>
                  <a:pt x="799644" y="809128"/>
                  <a:pt x="800358" y="809128"/>
                </a:cubicBezTo>
                <a:cubicBezTo>
                  <a:pt x="802502" y="807699"/>
                  <a:pt x="804645" y="806984"/>
                  <a:pt x="806788" y="805555"/>
                </a:cubicBezTo>
                <a:cubicBezTo>
                  <a:pt x="806788" y="805555"/>
                  <a:pt x="806788" y="805555"/>
                  <a:pt x="808932" y="804126"/>
                </a:cubicBezTo>
                <a:cubicBezTo>
                  <a:pt x="811075" y="802696"/>
                  <a:pt x="813219" y="801982"/>
                  <a:pt x="815362" y="800552"/>
                </a:cubicBezTo>
                <a:cubicBezTo>
                  <a:pt x="816076" y="799838"/>
                  <a:pt x="816791" y="799838"/>
                  <a:pt x="817505" y="799123"/>
                </a:cubicBezTo>
                <a:cubicBezTo>
                  <a:pt x="819649" y="797694"/>
                  <a:pt x="821792" y="796265"/>
                  <a:pt x="823936" y="794835"/>
                </a:cubicBezTo>
                <a:cubicBezTo>
                  <a:pt x="823936" y="794835"/>
                  <a:pt x="823936" y="794835"/>
                  <a:pt x="825365" y="794121"/>
                </a:cubicBezTo>
                <a:cubicBezTo>
                  <a:pt x="826079" y="792691"/>
                  <a:pt x="827508" y="791977"/>
                  <a:pt x="828937" y="791262"/>
                </a:cubicBezTo>
                <a:cubicBezTo>
                  <a:pt x="830366" y="791977"/>
                  <a:pt x="831795" y="792691"/>
                  <a:pt x="833224" y="793406"/>
                </a:cubicBezTo>
                <a:cubicBezTo>
                  <a:pt x="835367" y="794121"/>
                  <a:pt x="836796" y="794835"/>
                  <a:pt x="838939" y="795550"/>
                </a:cubicBezTo>
                <a:cubicBezTo>
                  <a:pt x="839654" y="796265"/>
                  <a:pt x="841083" y="796979"/>
                  <a:pt x="841797" y="796979"/>
                </a:cubicBezTo>
                <a:cubicBezTo>
                  <a:pt x="841797" y="796979"/>
                  <a:pt x="841797" y="796979"/>
                  <a:pt x="842512" y="797694"/>
                </a:cubicBezTo>
                <a:cubicBezTo>
                  <a:pt x="843941" y="797694"/>
                  <a:pt x="845370" y="798409"/>
                  <a:pt x="846799" y="799123"/>
                </a:cubicBezTo>
                <a:cubicBezTo>
                  <a:pt x="848227" y="799123"/>
                  <a:pt x="848942" y="799838"/>
                  <a:pt x="850371" y="800552"/>
                </a:cubicBezTo>
                <a:cubicBezTo>
                  <a:pt x="851800" y="801267"/>
                  <a:pt x="853943" y="801267"/>
                  <a:pt x="855372" y="801982"/>
                </a:cubicBezTo>
                <a:cubicBezTo>
                  <a:pt x="855372" y="801982"/>
                  <a:pt x="855372" y="801982"/>
                  <a:pt x="856087" y="801982"/>
                </a:cubicBezTo>
                <a:cubicBezTo>
                  <a:pt x="856801" y="802696"/>
                  <a:pt x="857516" y="802696"/>
                  <a:pt x="858230" y="802696"/>
                </a:cubicBezTo>
                <a:cubicBezTo>
                  <a:pt x="861088" y="804126"/>
                  <a:pt x="863231" y="804840"/>
                  <a:pt x="865375" y="804840"/>
                </a:cubicBezTo>
                <a:cubicBezTo>
                  <a:pt x="866089" y="805555"/>
                  <a:pt x="866804" y="805555"/>
                  <a:pt x="868233" y="805555"/>
                </a:cubicBezTo>
                <a:cubicBezTo>
                  <a:pt x="868233" y="805555"/>
                  <a:pt x="868233" y="805555"/>
                  <a:pt x="868233" y="806270"/>
                </a:cubicBezTo>
                <a:cubicBezTo>
                  <a:pt x="870376" y="806270"/>
                  <a:pt x="871805" y="806984"/>
                  <a:pt x="873948" y="806984"/>
                </a:cubicBezTo>
                <a:cubicBezTo>
                  <a:pt x="874663" y="807699"/>
                  <a:pt x="876092" y="807699"/>
                  <a:pt x="876806" y="807699"/>
                </a:cubicBezTo>
                <a:cubicBezTo>
                  <a:pt x="878950" y="808414"/>
                  <a:pt x="881807" y="808414"/>
                  <a:pt x="883951" y="809128"/>
                </a:cubicBezTo>
                <a:cubicBezTo>
                  <a:pt x="884665" y="809128"/>
                  <a:pt x="884665" y="809128"/>
                  <a:pt x="885380" y="809128"/>
                </a:cubicBezTo>
                <a:cubicBezTo>
                  <a:pt x="888238" y="809843"/>
                  <a:pt x="891096" y="809843"/>
                  <a:pt x="893953" y="810558"/>
                </a:cubicBezTo>
                <a:cubicBezTo>
                  <a:pt x="894668" y="810558"/>
                  <a:pt x="896811" y="810558"/>
                  <a:pt x="896811" y="810558"/>
                </a:cubicBezTo>
                <a:cubicBezTo>
                  <a:pt x="898955" y="811272"/>
                  <a:pt x="901098" y="811272"/>
                  <a:pt x="903241" y="811272"/>
                </a:cubicBezTo>
                <a:cubicBezTo>
                  <a:pt x="903241" y="811272"/>
                  <a:pt x="905385" y="811272"/>
                  <a:pt x="906099" y="811272"/>
                </a:cubicBezTo>
                <a:cubicBezTo>
                  <a:pt x="908957" y="811272"/>
                  <a:pt x="911101" y="811272"/>
                  <a:pt x="913958" y="811272"/>
                </a:cubicBezTo>
                <a:cubicBezTo>
                  <a:pt x="913958" y="811272"/>
                  <a:pt x="913958" y="811272"/>
                  <a:pt x="915387" y="811272"/>
                </a:cubicBezTo>
                <a:cubicBezTo>
                  <a:pt x="918960" y="811272"/>
                  <a:pt x="921818" y="811272"/>
                  <a:pt x="923961" y="811272"/>
                </a:cubicBezTo>
                <a:cubicBezTo>
                  <a:pt x="925390" y="811272"/>
                  <a:pt x="926104" y="811272"/>
                  <a:pt x="926819" y="811272"/>
                </a:cubicBezTo>
                <a:cubicBezTo>
                  <a:pt x="926819" y="811272"/>
                  <a:pt x="926819" y="811272"/>
                  <a:pt x="928248" y="811272"/>
                </a:cubicBezTo>
                <a:cubicBezTo>
                  <a:pt x="929677" y="811272"/>
                  <a:pt x="931820" y="810558"/>
                  <a:pt x="933964" y="810558"/>
                </a:cubicBezTo>
                <a:cubicBezTo>
                  <a:pt x="934678" y="810558"/>
                  <a:pt x="936107" y="810558"/>
                  <a:pt x="936821" y="810558"/>
                </a:cubicBezTo>
                <a:cubicBezTo>
                  <a:pt x="936821" y="810558"/>
                  <a:pt x="936821" y="810558"/>
                  <a:pt x="938250" y="809843"/>
                </a:cubicBezTo>
                <a:cubicBezTo>
                  <a:pt x="939679" y="809843"/>
                  <a:pt x="941823" y="809843"/>
                  <a:pt x="943252" y="809128"/>
                </a:cubicBezTo>
                <a:cubicBezTo>
                  <a:pt x="944681" y="809128"/>
                  <a:pt x="945395" y="809128"/>
                  <a:pt x="946824" y="809128"/>
                </a:cubicBezTo>
                <a:cubicBezTo>
                  <a:pt x="946824" y="809128"/>
                  <a:pt x="946824" y="809128"/>
                  <a:pt x="948253" y="808414"/>
                </a:cubicBezTo>
                <a:cubicBezTo>
                  <a:pt x="949682" y="808414"/>
                  <a:pt x="951111" y="808414"/>
                  <a:pt x="952540" y="807699"/>
                </a:cubicBezTo>
                <a:cubicBezTo>
                  <a:pt x="953969" y="807699"/>
                  <a:pt x="954683" y="807699"/>
                  <a:pt x="956112" y="806984"/>
                </a:cubicBezTo>
                <a:cubicBezTo>
                  <a:pt x="956112" y="806984"/>
                  <a:pt x="956112" y="806984"/>
                  <a:pt x="956827" y="806984"/>
                </a:cubicBezTo>
                <a:cubicBezTo>
                  <a:pt x="958255" y="806270"/>
                  <a:pt x="960399" y="806270"/>
                  <a:pt x="961828" y="805555"/>
                </a:cubicBezTo>
                <a:cubicBezTo>
                  <a:pt x="963257" y="805555"/>
                  <a:pt x="964686" y="804840"/>
                  <a:pt x="965400" y="804840"/>
                </a:cubicBezTo>
                <a:cubicBezTo>
                  <a:pt x="967544" y="804126"/>
                  <a:pt x="968972" y="804126"/>
                  <a:pt x="970401" y="803411"/>
                </a:cubicBezTo>
                <a:cubicBezTo>
                  <a:pt x="971830" y="802696"/>
                  <a:pt x="973259" y="802696"/>
                  <a:pt x="974688" y="801982"/>
                </a:cubicBezTo>
                <a:cubicBezTo>
                  <a:pt x="976117" y="801267"/>
                  <a:pt x="978261" y="801267"/>
                  <a:pt x="979689" y="800552"/>
                </a:cubicBezTo>
                <a:cubicBezTo>
                  <a:pt x="981118" y="799838"/>
                  <a:pt x="981833" y="799123"/>
                  <a:pt x="983262" y="799123"/>
                </a:cubicBezTo>
                <a:cubicBezTo>
                  <a:pt x="984691" y="798409"/>
                  <a:pt x="986834" y="797694"/>
                  <a:pt x="988263" y="796979"/>
                </a:cubicBezTo>
                <a:cubicBezTo>
                  <a:pt x="989692" y="796265"/>
                  <a:pt x="990407" y="796265"/>
                  <a:pt x="991835" y="795550"/>
                </a:cubicBezTo>
                <a:cubicBezTo>
                  <a:pt x="993264" y="794835"/>
                  <a:pt x="994693" y="794121"/>
                  <a:pt x="996837" y="793406"/>
                </a:cubicBezTo>
                <a:cubicBezTo>
                  <a:pt x="997551" y="792691"/>
                  <a:pt x="998980" y="791977"/>
                  <a:pt x="1000409" y="791977"/>
                </a:cubicBezTo>
                <a:cubicBezTo>
                  <a:pt x="1001838" y="791262"/>
                  <a:pt x="1003267" y="790547"/>
                  <a:pt x="1004696" y="789118"/>
                </a:cubicBezTo>
                <a:cubicBezTo>
                  <a:pt x="1006125" y="788403"/>
                  <a:pt x="1007554" y="788403"/>
                  <a:pt x="1008268" y="787689"/>
                </a:cubicBezTo>
                <a:cubicBezTo>
                  <a:pt x="1009697" y="786974"/>
                  <a:pt x="1011126" y="785545"/>
                  <a:pt x="1012555" y="784830"/>
                </a:cubicBezTo>
                <a:cubicBezTo>
                  <a:pt x="1012555" y="784830"/>
                  <a:pt x="1012555" y="784830"/>
                  <a:pt x="1013269" y="784830"/>
                </a:cubicBezTo>
                <a:cubicBezTo>
                  <a:pt x="1013984" y="784116"/>
                  <a:pt x="1015413" y="783401"/>
                  <a:pt x="1016127" y="782686"/>
                </a:cubicBezTo>
                <a:cubicBezTo>
                  <a:pt x="1017556" y="781972"/>
                  <a:pt x="1018985" y="781257"/>
                  <a:pt x="1020414" y="780542"/>
                </a:cubicBezTo>
                <a:cubicBezTo>
                  <a:pt x="1020414" y="780542"/>
                  <a:pt x="1020414" y="780542"/>
                  <a:pt x="1021129" y="779828"/>
                </a:cubicBezTo>
                <a:cubicBezTo>
                  <a:pt x="1021843" y="779113"/>
                  <a:pt x="1022558" y="778398"/>
                  <a:pt x="1023986" y="777684"/>
                </a:cubicBezTo>
                <a:cubicBezTo>
                  <a:pt x="1025415" y="776969"/>
                  <a:pt x="1026130" y="776254"/>
                  <a:pt x="1027559" y="775540"/>
                </a:cubicBezTo>
                <a:cubicBezTo>
                  <a:pt x="1027559" y="775540"/>
                  <a:pt x="1027559" y="775540"/>
                  <a:pt x="1028988" y="774110"/>
                </a:cubicBezTo>
                <a:cubicBezTo>
                  <a:pt x="1029702" y="774110"/>
                  <a:pt x="1030417" y="773396"/>
                  <a:pt x="1031131" y="772681"/>
                </a:cubicBezTo>
                <a:cubicBezTo>
                  <a:pt x="1032560" y="771967"/>
                  <a:pt x="1033989" y="770537"/>
                  <a:pt x="1035418" y="769108"/>
                </a:cubicBezTo>
                <a:cubicBezTo>
                  <a:pt x="1035418" y="769108"/>
                  <a:pt x="1035418" y="769108"/>
                  <a:pt x="1056138" y="769108"/>
                </a:cubicBezTo>
                <a:cubicBezTo>
                  <a:pt x="1149018" y="769108"/>
                  <a:pt x="1230468" y="706934"/>
                  <a:pt x="1254045" y="617603"/>
                </a:cubicBezTo>
                <a:cubicBezTo>
                  <a:pt x="1254759" y="614029"/>
                  <a:pt x="1255474" y="611171"/>
                  <a:pt x="1256188" y="607598"/>
                </a:cubicBezTo>
                <a:cubicBezTo>
                  <a:pt x="1258332" y="597592"/>
                  <a:pt x="1259761" y="587587"/>
                  <a:pt x="1260475" y="576868"/>
                </a:cubicBezTo>
                <a:cubicBezTo>
                  <a:pt x="1260475" y="573294"/>
                  <a:pt x="1260475" y="570436"/>
                  <a:pt x="1260475" y="566863"/>
                </a:cubicBezTo>
                <a:cubicBezTo>
                  <a:pt x="1260475" y="551855"/>
                  <a:pt x="1259046" y="536133"/>
                  <a:pt x="1255474" y="521840"/>
                </a:cubicBezTo>
                <a:cubicBezTo>
                  <a:pt x="1251187" y="503259"/>
                  <a:pt x="1244042" y="485393"/>
                  <a:pt x="1234754" y="468241"/>
                </a:cubicBezTo>
                <a:cubicBezTo>
                  <a:pt x="1229753" y="458951"/>
                  <a:pt x="1224037" y="450375"/>
                  <a:pt x="1216893" y="441799"/>
                </a:cubicBezTo>
                <a:cubicBezTo>
                  <a:pt x="1211177" y="434653"/>
                  <a:pt x="1204747" y="427506"/>
                  <a:pt x="1198317" y="421074"/>
                </a:cubicBezTo>
                <a:cubicBezTo>
                  <a:pt x="1195459" y="418216"/>
                  <a:pt x="1192601" y="416072"/>
                  <a:pt x="1190457" y="413928"/>
                </a:cubicBezTo>
                <a:cubicBezTo>
                  <a:pt x="1186171" y="410355"/>
                  <a:pt x="1181884" y="406782"/>
                  <a:pt x="1177597" y="403208"/>
                </a:cubicBezTo>
                <a:cubicBezTo>
                  <a:pt x="1171881" y="399635"/>
                  <a:pt x="1166880" y="396062"/>
                  <a:pt x="1161879" y="393203"/>
                </a:cubicBezTo>
                <a:cubicBezTo>
                  <a:pt x="1161164" y="392489"/>
                  <a:pt x="1159735" y="392489"/>
                  <a:pt x="1159021" y="391774"/>
                </a:cubicBezTo>
                <a:cubicBezTo>
                  <a:pt x="1154734" y="388915"/>
                  <a:pt x="1149733" y="386771"/>
                  <a:pt x="1145446" y="384627"/>
                </a:cubicBezTo>
                <a:cubicBezTo>
                  <a:pt x="1144731" y="383913"/>
                  <a:pt x="1144731" y="383913"/>
                  <a:pt x="1144017" y="383913"/>
                </a:cubicBezTo>
                <a:cubicBezTo>
                  <a:pt x="1133300" y="378910"/>
                  <a:pt x="1121868" y="374622"/>
                  <a:pt x="1109723" y="371049"/>
                </a:cubicBezTo>
                <a:cubicBezTo>
                  <a:pt x="1080429" y="322453"/>
                  <a:pt x="1031131" y="289579"/>
                  <a:pt x="974688" y="281718"/>
                </a:cubicBezTo>
                <a:cubicBezTo>
                  <a:pt x="967544" y="238125"/>
                  <a:pt x="947538" y="198104"/>
                  <a:pt x="916102" y="166660"/>
                </a:cubicBezTo>
                <a:cubicBezTo>
                  <a:pt x="876806" y="128784"/>
                  <a:pt x="826079" y="107344"/>
                  <a:pt x="771779" y="107344"/>
                </a:cubicBezTo>
                <a:cubicBezTo>
                  <a:pt x="742486" y="107344"/>
                  <a:pt x="713908" y="113776"/>
                  <a:pt x="687472" y="125925"/>
                </a:cubicBezTo>
                <a:cubicBezTo>
                  <a:pt x="636031" y="65180"/>
                  <a:pt x="560297" y="30162"/>
                  <a:pt x="479562" y="30162"/>
                </a:cubicBezTo>
                <a:close/>
                <a:moveTo>
                  <a:pt x="480479" y="0"/>
                </a:moveTo>
                <a:cubicBezTo>
                  <a:pt x="561868" y="0"/>
                  <a:pt x="639687" y="32067"/>
                  <a:pt x="696088" y="89788"/>
                </a:cubicBezTo>
                <a:cubicBezTo>
                  <a:pt x="721076" y="81237"/>
                  <a:pt x="746778" y="76961"/>
                  <a:pt x="772479" y="76961"/>
                </a:cubicBezTo>
                <a:cubicBezTo>
                  <a:pt x="835306" y="76961"/>
                  <a:pt x="893849" y="101189"/>
                  <a:pt x="938113" y="145371"/>
                </a:cubicBezTo>
                <a:cubicBezTo>
                  <a:pt x="969526" y="176012"/>
                  <a:pt x="990944" y="213780"/>
                  <a:pt x="1001653" y="255111"/>
                </a:cubicBezTo>
                <a:cubicBezTo>
                  <a:pt x="1054484" y="268650"/>
                  <a:pt x="1100176" y="300005"/>
                  <a:pt x="1130876" y="344898"/>
                </a:cubicBezTo>
                <a:cubicBezTo>
                  <a:pt x="1139443" y="347749"/>
                  <a:pt x="1148724" y="351312"/>
                  <a:pt x="1157291" y="355587"/>
                </a:cubicBezTo>
                <a:cubicBezTo>
                  <a:pt x="1158005" y="355587"/>
                  <a:pt x="1158719" y="355587"/>
                  <a:pt x="1159433" y="356300"/>
                </a:cubicBezTo>
                <a:cubicBezTo>
                  <a:pt x="1164431" y="358438"/>
                  <a:pt x="1169428" y="361288"/>
                  <a:pt x="1175140" y="364851"/>
                </a:cubicBezTo>
                <a:cubicBezTo>
                  <a:pt x="1176567" y="365564"/>
                  <a:pt x="1177281" y="365564"/>
                  <a:pt x="1177995" y="366276"/>
                </a:cubicBezTo>
                <a:cubicBezTo>
                  <a:pt x="1184421" y="369839"/>
                  <a:pt x="1190132" y="374115"/>
                  <a:pt x="1196558" y="378391"/>
                </a:cubicBezTo>
                <a:cubicBezTo>
                  <a:pt x="1201555" y="381954"/>
                  <a:pt x="1206553" y="386229"/>
                  <a:pt x="1211550" y="390505"/>
                </a:cubicBezTo>
                <a:cubicBezTo>
                  <a:pt x="1214406" y="392643"/>
                  <a:pt x="1217262" y="395493"/>
                  <a:pt x="1220118" y="398343"/>
                </a:cubicBezTo>
                <a:cubicBezTo>
                  <a:pt x="1227971" y="406182"/>
                  <a:pt x="1235824" y="414021"/>
                  <a:pt x="1242250" y="422572"/>
                </a:cubicBezTo>
                <a:cubicBezTo>
                  <a:pt x="1250103" y="431836"/>
                  <a:pt x="1256528" y="442525"/>
                  <a:pt x="1262954" y="453214"/>
                </a:cubicBezTo>
                <a:cubicBezTo>
                  <a:pt x="1273663" y="472454"/>
                  <a:pt x="1281516" y="493119"/>
                  <a:pt x="1286514" y="514497"/>
                </a:cubicBezTo>
                <a:cubicBezTo>
                  <a:pt x="1290083" y="531600"/>
                  <a:pt x="1292225" y="548702"/>
                  <a:pt x="1292225" y="566517"/>
                </a:cubicBezTo>
                <a:cubicBezTo>
                  <a:pt x="1292225" y="570080"/>
                  <a:pt x="1292225" y="574356"/>
                  <a:pt x="1292225" y="578631"/>
                </a:cubicBezTo>
                <a:cubicBezTo>
                  <a:pt x="1291511" y="590033"/>
                  <a:pt x="1290083" y="602147"/>
                  <a:pt x="1287228" y="613549"/>
                </a:cubicBezTo>
                <a:cubicBezTo>
                  <a:pt x="1286514" y="617112"/>
                  <a:pt x="1285800" y="621387"/>
                  <a:pt x="1285086" y="624950"/>
                </a:cubicBezTo>
                <a:cubicBezTo>
                  <a:pt x="1257956" y="727565"/>
                  <a:pt x="1163717" y="799537"/>
                  <a:pt x="1056626" y="799537"/>
                </a:cubicBezTo>
                <a:cubicBezTo>
                  <a:pt x="1056626" y="799537"/>
                  <a:pt x="1056626" y="799537"/>
                  <a:pt x="1046631" y="799537"/>
                </a:cubicBezTo>
                <a:cubicBezTo>
                  <a:pt x="1045203" y="800962"/>
                  <a:pt x="1043775" y="801675"/>
                  <a:pt x="1042347" y="803100"/>
                </a:cubicBezTo>
                <a:cubicBezTo>
                  <a:pt x="1040920" y="803813"/>
                  <a:pt x="1039492" y="804525"/>
                  <a:pt x="1038778" y="805238"/>
                </a:cubicBezTo>
                <a:cubicBezTo>
                  <a:pt x="1038778" y="805238"/>
                  <a:pt x="1038778" y="805238"/>
                  <a:pt x="1038064" y="805951"/>
                </a:cubicBezTo>
                <a:cubicBezTo>
                  <a:pt x="1036636" y="806663"/>
                  <a:pt x="1034494" y="807376"/>
                  <a:pt x="1033066" y="808801"/>
                </a:cubicBezTo>
                <a:cubicBezTo>
                  <a:pt x="1031638" y="809514"/>
                  <a:pt x="1030924" y="810226"/>
                  <a:pt x="1029497" y="810939"/>
                </a:cubicBezTo>
                <a:cubicBezTo>
                  <a:pt x="1029497" y="810939"/>
                  <a:pt x="1029497" y="810939"/>
                  <a:pt x="1028783" y="810939"/>
                </a:cubicBezTo>
                <a:cubicBezTo>
                  <a:pt x="1027355" y="811651"/>
                  <a:pt x="1025927" y="813077"/>
                  <a:pt x="1024499" y="813789"/>
                </a:cubicBezTo>
                <a:cubicBezTo>
                  <a:pt x="1023071" y="814502"/>
                  <a:pt x="1021643" y="815214"/>
                  <a:pt x="1020215" y="815927"/>
                </a:cubicBezTo>
                <a:cubicBezTo>
                  <a:pt x="1019501" y="815927"/>
                  <a:pt x="1019501" y="815927"/>
                  <a:pt x="1019501" y="815927"/>
                </a:cubicBezTo>
                <a:cubicBezTo>
                  <a:pt x="1018074" y="817352"/>
                  <a:pt x="1016646" y="818065"/>
                  <a:pt x="1014504" y="818777"/>
                </a:cubicBezTo>
                <a:cubicBezTo>
                  <a:pt x="1013076" y="819490"/>
                  <a:pt x="1011648" y="820203"/>
                  <a:pt x="1010220" y="820915"/>
                </a:cubicBezTo>
                <a:cubicBezTo>
                  <a:pt x="1008792" y="821628"/>
                  <a:pt x="1006651" y="822340"/>
                  <a:pt x="1005223" y="823053"/>
                </a:cubicBezTo>
                <a:cubicBezTo>
                  <a:pt x="1003795" y="823766"/>
                  <a:pt x="1002367" y="824478"/>
                  <a:pt x="1000225" y="825191"/>
                </a:cubicBezTo>
                <a:cubicBezTo>
                  <a:pt x="998797" y="825903"/>
                  <a:pt x="996656" y="826616"/>
                  <a:pt x="995228" y="827329"/>
                </a:cubicBezTo>
                <a:cubicBezTo>
                  <a:pt x="993800" y="828041"/>
                  <a:pt x="992372" y="828754"/>
                  <a:pt x="990230" y="828754"/>
                </a:cubicBezTo>
                <a:cubicBezTo>
                  <a:pt x="988802" y="829466"/>
                  <a:pt x="986660" y="830179"/>
                  <a:pt x="985233" y="830892"/>
                </a:cubicBezTo>
                <a:cubicBezTo>
                  <a:pt x="983091" y="831604"/>
                  <a:pt x="981663" y="831604"/>
                  <a:pt x="980235" y="832317"/>
                </a:cubicBezTo>
                <a:cubicBezTo>
                  <a:pt x="978807" y="833029"/>
                  <a:pt x="976665" y="833742"/>
                  <a:pt x="974523" y="833742"/>
                </a:cubicBezTo>
                <a:cubicBezTo>
                  <a:pt x="973096" y="834455"/>
                  <a:pt x="971668" y="834455"/>
                  <a:pt x="970240" y="835167"/>
                </a:cubicBezTo>
                <a:cubicBezTo>
                  <a:pt x="968098" y="835880"/>
                  <a:pt x="965956" y="835880"/>
                  <a:pt x="963814" y="836592"/>
                </a:cubicBezTo>
                <a:cubicBezTo>
                  <a:pt x="963814" y="836592"/>
                  <a:pt x="963814" y="836592"/>
                  <a:pt x="963101" y="836592"/>
                </a:cubicBezTo>
                <a:cubicBezTo>
                  <a:pt x="961673" y="837305"/>
                  <a:pt x="960245" y="837305"/>
                  <a:pt x="959531" y="837305"/>
                </a:cubicBezTo>
                <a:cubicBezTo>
                  <a:pt x="957389" y="838018"/>
                  <a:pt x="955247" y="838018"/>
                  <a:pt x="953819" y="838730"/>
                </a:cubicBezTo>
                <a:cubicBezTo>
                  <a:pt x="953819" y="838730"/>
                  <a:pt x="953819" y="838730"/>
                  <a:pt x="952391" y="838730"/>
                </a:cubicBezTo>
                <a:cubicBezTo>
                  <a:pt x="950964" y="838730"/>
                  <a:pt x="949536" y="839443"/>
                  <a:pt x="948108" y="839443"/>
                </a:cubicBezTo>
                <a:cubicBezTo>
                  <a:pt x="946680" y="839443"/>
                  <a:pt x="944538" y="840155"/>
                  <a:pt x="942396" y="840155"/>
                </a:cubicBezTo>
                <a:cubicBezTo>
                  <a:pt x="942396" y="840155"/>
                  <a:pt x="942396" y="840155"/>
                  <a:pt x="941682" y="840155"/>
                </a:cubicBezTo>
                <a:cubicBezTo>
                  <a:pt x="940255" y="840155"/>
                  <a:pt x="938827" y="840868"/>
                  <a:pt x="937399" y="840868"/>
                </a:cubicBezTo>
                <a:cubicBezTo>
                  <a:pt x="935257" y="840868"/>
                  <a:pt x="933115" y="840868"/>
                  <a:pt x="930973" y="841581"/>
                </a:cubicBezTo>
                <a:cubicBezTo>
                  <a:pt x="930973" y="841581"/>
                  <a:pt x="930973" y="841581"/>
                  <a:pt x="930259" y="841581"/>
                </a:cubicBezTo>
                <a:cubicBezTo>
                  <a:pt x="928832" y="841581"/>
                  <a:pt x="927404" y="841581"/>
                  <a:pt x="926690" y="841581"/>
                </a:cubicBezTo>
                <a:cubicBezTo>
                  <a:pt x="923120" y="841581"/>
                  <a:pt x="919550" y="841581"/>
                  <a:pt x="915981" y="841581"/>
                </a:cubicBezTo>
                <a:cubicBezTo>
                  <a:pt x="915267" y="841581"/>
                  <a:pt x="914553" y="841581"/>
                  <a:pt x="914553" y="841581"/>
                </a:cubicBezTo>
                <a:cubicBezTo>
                  <a:pt x="911697" y="841581"/>
                  <a:pt x="908127" y="841581"/>
                  <a:pt x="905272" y="841581"/>
                </a:cubicBezTo>
                <a:cubicBezTo>
                  <a:pt x="903844" y="841581"/>
                  <a:pt x="901702" y="841581"/>
                  <a:pt x="901702" y="841581"/>
                </a:cubicBezTo>
                <a:cubicBezTo>
                  <a:pt x="899560" y="841581"/>
                  <a:pt x="896704" y="840868"/>
                  <a:pt x="894563" y="840868"/>
                </a:cubicBezTo>
                <a:cubicBezTo>
                  <a:pt x="894563" y="840868"/>
                  <a:pt x="891707" y="840868"/>
                  <a:pt x="890993" y="840868"/>
                </a:cubicBezTo>
                <a:cubicBezTo>
                  <a:pt x="887423" y="840155"/>
                  <a:pt x="884567" y="840155"/>
                  <a:pt x="880998" y="839443"/>
                </a:cubicBezTo>
                <a:cubicBezTo>
                  <a:pt x="880284" y="839443"/>
                  <a:pt x="880284" y="839443"/>
                  <a:pt x="879570" y="838730"/>
                </a:cubicBezTo>
                <a:cubicBezTo>
                  <a:pt x="876714" y="838730"/>
                  <a:pt x="873858" y="838018"/>
                  <a:pt x="871717" y="837305"/>
                </a:cubicBezTo>
                <a:cubicBezTo>
                  <a:pt x="870289" y="837305"/>
                  <a:pt x="869575" y="837305"/>
                  <a:pt x="868861" y="837305"/>
                </a:cubicBezTo>
                <a:cubicBezTo>
                  <a:pt x="868861" y="837305"/>
                  <a:pt x="868861" y="837305"/>
                  <a:pt x="868147" y="836592"/>
                </a:cubicBezTo>
                <a:cubicBezTo>
                  <a:pt x="866005" y="836592"/>
                  <a:pt x="864577" y="835880"/>
                  <a:pt x="862435" y="835167"/>
                </a:cubicBezTo>
                <a:cubicBezTo>
                  <a:pt x="862435" y="835167"/>
                  <a:pt x="862435" y="835167"/>
                  <a:pt x="861722" y="835167"/>
                </a:cubicBezTo>
                <a:cubicBezTo>
                  <a:pt x="861008" y="835167"/>
                  <a:pt x="859580" y="834455"/>
                  <a:pt x="858866" y="834455"/>
                </a:cubicBezTo>
                <a:cubicBezTo>
                  <a:pt x="855296" y="833742"/>
                  <a:pt x="852440" y="833029"/>
                  <a:pt x="849585" y="832317"/>
                </a:cubicBezTo>
                <a:cubicBezTo>
                  <a:pt x="848871" y="831604"/>
                  <a:pt x="847443" y="831604"/>
                  <a:pt x="846729" y="830892"/>
                </a:cubicBezTo>
                <a:cubicBezTo>
                  <a:pt x="846729" y="830892"/>
                  <a:pt x="846729" y="830892"/>
                  <a:pt x="846015" y="830892"/>
                </a:cubicBezTo>
                <a:cubicBezTo>
                  <a:pt x="843873" y="830179"/>
                  <a:pt x="842445" y="829466"/>
                  <a:pt x="840303" y="828754"/>
                </a:cubicBezTo>
                <a:cubicBezTo>
                  <a:pt x="838876" y="828754"/>
                  <a:pt x="837448" y="828041"/>
                  <a:pt x="836020" y="827329"/>
                </a:cubicBezTo>
                <a:cubicBezTo>
                  <a:pt x="834592" y="826616"/>
                  <a:pt x="833878" y="826616"/>
                  <a:pt x="832450" y="825903"/>
                </a:cubicBezTo>
                <a:cubicBezTo>
                  <a:pt x="830308" y="827329"/>
                  <a:pt x="828167" y="828754"/>
                  <a:pt x="825311" y="830179"/>
                </a:cubicBezTo>
                <a:cubicBezTo>
                  <a:pt x="825311" y="830179"/>
                  <a:pt x="825311" y="830179"/>
                  <a:pt x="823169" y="831604"/>
                </a:cubicBezTo>
                <a:cubicBezTo>
                  <a:pt x="820313" y="833029"/>
                  <a:pt x="818171" y="834455"/>
                  <a:pt x="815316" y="835880"/>
                </a:cubicBezTo>
                <a:cubicBezTo>
                  <a:pt x="814602" y="835880"/>
                  <a:pt x="813174" y="837305"/>
                  <a:pt x="813174" y="837305"/>
                </a:cubicBezTo>
                <a:cubicBezTo>
                  <a:pt x="810318" y="838730"/>
                  <a:pt x="807462" y="839443"/>
                  <a:pt x="805321" y="840868"/>
                </a:cubicBezTo>
                <a:cubicBezTo>
                  <a:pt x="804607" y="840868"/>
                  <a:pt x="803179" y="841581"/>
                  <a:pt x="802465" y="842293"/>
                </a:cubicBezTo>
                <a:cubicBezTo>
                  <a:pt x="799609" y="843718"/>
                  <a:pt x="797467" y="844431"/>
                  <a:pt x="795325" y="845144"/>
                </a:cubicBezTo>
                <a:cubicBezTo>
                  <a:pt x="793898" y="845856"/>
                  <a:pt x="793184" y="845856"/>
                  <a:pt x="791756" y="846569"/>
                </a:cubicBezTo>
                <a:cubicBezTo>
                  <a:pt x="791756" y="846569"/>
                  <a:pt x="791756" y="846569"/>
                  <a:pt x="791042" y="846569"/>
                </a:cubicBezTo>
                <a:cubicBezTo>
                  <a:pt x="789614" y="847281"/>
                  <a:pt x="786758" y="848707"/>
                  <a:pt x="784616" y="849419"/>
                </a:cubicBezTo>
                <a:cubicBezTo>
                  <a:pt x="783189" y="850132"/>
                  <a:pt x="781761" y="850132"/>
                  <a:pt x="780333" y="850844"/>
                </a:cubicBezTo>
                <a:cubicBezTo>
                  <a:pt x="778191" y="851557"/>
                  <a:pt x="776049" y="852270"/>
                  <a:pt x="773193" y="852982"/>
                </a:cubicBezTo>
                <a:cubicBezTo>
                  <a:pt x="772479" y="852982"/>
                  <a:pt x="771052" y="853695"/>
                  <a:pt x="769624" y="854407"/>
                </a:cubicBezTo>
                <a:cubicBezTo>
                  <a:pt x="769624" y="854407"/>
                  <a:pt x="769624" y="854407"/>
                  <a:pt x="768196" y="854407"/>
                </a:cubicBezTo>
                <a:cubicBezTo>
                  <a:pt x="766054" y="855120"/>
                  <a:pt x="763912" y="855833"/>
                  <a:pt x="762484" y="855833"/>
                </a:cubicBezTo>
                <a:cubicBezTo>
                  <a:pt x="761056" y="856545"/>
                  <a:pt x="759629" y="856545"/>
                  <a:pt x="758201" y="857258"/>
                </a:cubicBezTo>
                <a:cubicBezTo>
                  <a:pt x="758201" y="857258"/>
                  <a:pt x="758201" y="857258"/>
                  <a:pt x="756059" y="857258"/>
                </a:cubicBezTo>
                <a:cubicBezTo>
                  <a:pt x="754631" y="857970"/>
                  <a:pt x="752489" y="857970"/>
                  <a:pt x="751061" y="858683"/>
                </a:cubicBezTo>
                <a:cubicBezTo>
                  <a:pt x="748920" y="858683"/>
                  <a:pt x="747492" y="859396"/>
                  <a:pt x="746064" y="859396"/>
                </a:cubicBezTo>
                <a:cubicBezTo>
                  <a:pt x="746064" y="859396"/>
                  <a:pt x="746064" y="859396"/>
                  <a:pt x="743922" y="860108"/>
                </a:cubicBezTo>
                <a:cubicBezTo>
                  <a:pt x="742494" y="860108"/>
                  <a:pt x="741066" y="860108"/>
                  <a:pt x="738924" y="860821"/>
                </a:cubicBezTo>
                <a:cubicBezTo>
                  <a:pt x="737497" y="860821"/>
                  <a:pt x="735355" y="860821"/>
                  <a:pt x="733927" y="861533"/>
                </a:cubicBezTo>
                <a:cubicBezTo>
                  <a:pt x="733927" y="861533"/>
                  <a:pt x="733927" y="861533"/>
                  <a:pt x="731785" y="861533"/>
                </a:cubicBezTo>
                <a:cubicBezTo>
                  <a:pt x="730357" y="861533"/>
                  <a:pt x="728929" y="862246"/>
                  <a:pt x="727501" y="862246"/>
                </a:cubicBezTo>
                <a:cubicBezTo>
                  <a:pt x="724646" y="862246"/>
                  <a:pt x="722504" y="862246"/>
                  <a:pt x="720362" y="862959"/>
                </a:cubicBezTo>
                <a:cubicBezTo>
                  <a:pt x="720362" y="862959"/>
                  <a:pt x="720362" y="862959"/>
                  <a:pt x="718934" y="862959"/>
                </a:cubicBezTo>
                <a:cubicBezTo>
                  <a:pt x="717506" y="862959"/>
                  <a:pt x="716078" y="862959"/>
                  <a:pt x="715365" y="862959"/>
                </a:cubicBezTo>
                <a:cubicBezTo>
                  <a:pt x="711081" y="862959"/>
                  <a:pt x="706797" y="863671"/>
                  <a:pt x="703228" y="863671"/>
                </a:cubicBezTo>
                <a:cubicBezTo>
                  <a:pt x="698944" y="863671"/>
                  <a:pt x="694660" y="862959"/>
                  <a:pt x="690377" y="862959"/>
                </a:cubicBezTo>
                <a:cubicBezTo>
                  <a:pt x="688949" y="862959"/>
                  <a:pt x="688235" y="862959"/>
                  <a:pt x="686807" y="862959"/>
                </a:cubicBezTo>
                <a:cubicBezTo>
                  <a:pt x="686807" y="862959"/>
                  <a:pt x="686807" y="862959"/>
                  <a:pt x="684665" y="862246"/>
                </a:cubicBezTo>
                <a:cubicBezTo>
                  <a:pt x="682523" y="862246"/>
                  <a:pt x="680382" y="862246"/>
                  <a:pt x="678240" y="862246"/>
                </a:cubicBezTo>
                <a:cubicBezTo>
                  <a:pt x="676812" y="862246"/>
                  <a:pt x="674670" y="861533"/>
                  <a:pt x="673242" y="861533"/>
                </a:cubicBezTo>
                <a:cubicBezTo>
                  <a:pt x="673242" y="861533"/>
                  <a:pt x="673242" y="861533"/>
                  <a:pt x="671100" y="861533"/>
                </a:cubicBezTo>
                <a:cubicBezTo>
                  <a:pt x="669673" y="860821"/>
                  <a:pt x="668245" y="860821"/>
                  <a:pt x="666103" y="860821"/>
                </a:cubicBezTo>
                <a:cubicBezTo>
                  <a:pt x="663961" y="860108"/>
                  <a:pt x="661819" y="860108"/>
                  <a:pt x="660391" y="859396"/>
                </a:cubicBezTo>
                <a:cubicBezTo>
                  <a:pt x="660391" y="859396"/>
                  <a:pt x="660391" y="859396"/>
                  <a:pt x="658250" y="859396"/>
                </a:cubicBezTo>
                <a:cubicBezTo>
                  <a:pt x="656822" y="858683"/>
                  <a:pt x="656108" y="858683"/>
                  <a:pt x="654680" y="858683"/>
                </a:cubicBezTo>
                <a:cubicBezTo>
                  <a:pt x="651824" y="857970"/>
                  <a:pt x="649682" y="857258"/>
                  <a:pt x="647541" y="856545"/>
                </a:cubicBezTo>
                <a:cubicBezTo>
                  <a:pt x="647541" y="856545"/>
                  <a:pt x="647541" y="856545"/>
                  <a:pt x="646113" y="856545"/>
                </a:cubicBezTo>
                <a:cubicBezTo>
                  <a:pt x="644685" y="856545"/>
                  <a:pt x="643971" y="855833"/>
                  <a:pt x="642543" y="855833"/>
                </a:cubicBezTo>
                <a:cubicBezTo>
                  <a:pt x="640401" y="855120"/>
                  <a:pt x="637545" y="854407"/>
                  <a:pt x="634690" y="853695"/>
                </a:cubicBezTo>
                <a:cubicBezTo>
                  <a:pt x="633262" y="852982"/>
                  <a:pt x="632548" y="852982"/>
                  <a:pt x="631834" y="852982"/>
                </a:cubicBezTo>
                <a:cubicBezTo>
                  <a:pt x="628264" y="851557"/>
                  <a:pt x="625409" y="850844"/>
                  <a:pt x="623267" y="850132"/>
                </a:cubicBezTo>
                <a:cubicBezTo>
                  <a:pt x="621839" y="849419"/>
                  <a:pt x="621125" y="849419"/>
                  <a:pt x="620411" y="848707"/>
                </a:cubicBezTo>
                <a:cubicBezTo>
                  <a:pt x="617555" y="847994"/>
                  <a:pt x="614700" y="846569"/>
                  <a:pt x="611130" y="845856"/>
                </a:cubicBezTo>
                <a:cubicBezTo>
                  <a:pt x="610416" y="845144"/>
                  <a:pt x="610416" y="845144"/>
                  <a:pt x="609702" y="844431"/>
                </a:cubicBezTo>
                <a:cubicBezTo>
                  <a:pt x="606846" y="843718"/>
                  <a:pt x="603990" y="842293"/>
                  <a:pt x="600421" y="840868"/>
                </a:cubicBezTo>
                <a:cubicBezTo>
                  <a:pt x="599707" y="840155"/>
                  <a:pt x="599707" y="840155"/>
                  <a:pt x="598993" y="840155"/>
                </a:cubicBezTo>
                <a:cubicBezTo>
                  <a:pt x="596137" y="838730"/>
                  <a:pt x="592567" y="837305"/>
                  <a:pt x="589712" y="835167"/>
                </a:cubicBezTo>
                <a:cubicBezTo>
                  <a:pt x="589712" y="835167"/>
                  <a:pt x="589712" y="835167"/>
                  <a:pt x="588998" y="835167"/>
                </a:cubicBezTo>
                <a:cubicBezTo>
                  <a:pt x="588998" y="835167"/>
                  <a:pt x="588998" y="835167"/>
                  <a:pt x="588284" y="834455"/>
                </a:cubicBezTo>
                <a:cubicBezTo>
                  <a:pt x="586142" y="833742"/>
                  <a:pt x="584000" y="832317"/>
                  <a:pt x="581858" y="830892"/>
                </a:cubicBezTo>
                <a:cubicBezTo>
                  <a:pt x="579003" y="833029"/>
                  <a:pt x="576861" y="835167"/>
                  <a:pt x="574005" y="836592"/>
                </a:cubicBezTo>
                <a:cubicBezTo>
                  <a:pt x="573291" y="837305"/>
                  <a:pt x="571149" y="838730"/>
                  <a:pt x="571149" y="838730"/>
                </a:cubicBezTo>
                <a:cubicBezTo>
                  <a:pt x="568294" y="840868"/>
                  <a:pt x="565438" y="843006"/>
                  <a:pt x="561868" y="845144"/>
                </a:cubicBezTo>
                <a:cubicBezTo>
                  <a:pt x="561154" y="845856"/>
                  <a:pt x="559726" y="846569"/>
                  <a:pt x="558299" y="847281"/>
                </a:cubicBezTo>
                <a:cubicBezTo>
                  <a:pt x="555443" y="849419"/>
                  <a:pt x="552587" y="850844"/>
                  <a:pt x="549731" y="852270"/>
                </a:cubicBezTo>
                <a:cubicBezTo>
                  <a:pt x="548303" y="852982"/>
                  <a:pt x="546876" y="854407"/>
                  <a:pt x="545448" y="855120"/>
                </a:cubicBezTo>
                <a:cubicBezTo>
                  <a:pt x="542592" y="856545"/>
                  <a:pt x="540450" y="857258"/>
                  <a:pt x="539022" y="858683"/>
                </a:cubicBezTo>
                <a:cubicBezTo>
                  <a:pt x="536167" y="860108"/>
                  <a:pt x="534025" y="860821"/>
                  <a:pt x="531883" y="862246"/>
                </a:cubicBezTo>
                <a:cubicBezTo>
                  <a:pt x="530455" y="862959"/>
                  <a:pt x="528313" y="863671"/>
                  <a:pt x="526885" y="864384"/>
                </a:cubicBezTo>
                <a:cubicBezTo>
                  <a:pt x="524030" y="865809"/>
                  <a:pt x="521174" y="867234"/>
                  <a:pt x="518318" y="868659"/>
                </a:cubicBezTo>
                <a:cubicBezTo>
                  <a:pt x="516890" y="869372"/>
                  <a:pt x="515462" y="869372"/>
                  <a:pt x="514034" y="870085"/>
                </a:cubicBezTo>
                <a:cubicBezTo>
                  <a:pt x="510465" y="871510"/>
                  <a:pt x="506895" y="872935"/>
                  <a:pt x="504039" y="874360"/>
                </a:cubicBezTo>
                <a:cubicBezTo>
                  <a:pt x="503325" y="874360"/>
                  <a:pt x="501898" y="875073"/>
                  <a:pt x="501184" y="875073"/>
                </a:cubicBezTo>
                <a:cubicBezTo>
                  <a:pt x="501184" y="875073"/>
                  <a:pt x="501184" y="875073"/>
                  <a:pt x="500470" y="875785"/>
                </a:cubicBezTo>
                <a:cubicBezTo>
                  <a:pt x="496900" y="876498"/>
                  <a:pt x="493330" y="877923"/>
                  <a:pt x="490475" y="878636"/>
                </a:cubicBezTo>
                <a:cubicBezTo>
                  <a:pt x="489047" y="879348"/>
                  <a:pt x="486905" y="880061"/>
                  <a:pt x="486905" y="880061"/>
                </a:cubicBezTo>
                <a:cubicBezTo>
                  <a:pt x="484049" y="880774"/>
                  <a:pt x="480479" y="882199"/>
                  <a:pt x="476910" y="882911"/>
                </a:cubicBezTo>
                <a:cubicBezTo>
                  <a:pt x="476196" y="882911"/>
                  <a:pt x="474768" y="883624"/>
                  <a:pt x="474768" y="883624"/>
                </a:cubicBezTo>
                <a:cubicBezTo>
                  <a:pt x="470484" y="884337"/>
                  <a:pt x="466915" y="885049"/>
                  <a:pt x="462631" y="886474"/>
                </a:cubicBezTo>
                <a:cubicBezTo>
                  <a:pt x="462631" y="886474"/>
                  <a:pt x="460489" y="886474"/>
                  <a:pt x="459775" y="886474"/>
                </a:cubicBezTo>
                <a:cubicBezTo>
                  <a:pt x="456206" y="887187"/>
                  <a:pt x="451922" y="887900"/>
                  <a:pt x="447638" y="888612"/>
                </a:cubicBezTo>
                <a:cubicBezTo>
                  <a:pt x="447638" y="888612"/>
                  <a:pt x="447638" y="888612"/>
                  <a:pt x="445497" y="889325"/>
                </a:cubicBezTo>
                <a:cubicBezTo>
                  <a:pt x="441213" y="890037"/>
                  <a:pt x="436929" y="890750"/>
                  <a:pt x="432646" y="890750"/>
                </a:cubicBezTo>
                <a:cubicBezTo>
                  <a:pt x="432646" y="890750"/>
                  <a:pt x="432646" y="890750"/>
                  <a:pt x="430504" y="890750"/>
                </a:cubicBezTo>
                <a:cubicBezTo>
                  <a:pt x="426220" y="891463"/>
                  <a:pt x="421937" y="892175"/>
                  <a:pt x="417653" y="892175"/>
                </a:cubicBezTo>
                <a:cubicBezTo>
                  <a:pt x="417653" y="892175"/>
                  <a:pt x="417653" y="892175"/>
                  <a:pt x="416939" y="892175"/>
                </a:cubicBezTo>
                <a:cubicBezTo>
                  <a:pt x="411228" y="892175"/>
                  <a:pt x="406944" y="892175"/>
                  <a:pt x="402660" y="892175"/>
                </a:cubicBezTo>
                <a:cubicBezTo>
                  <a:pt x="398377" y="892175"/>
                  <a:pt x="394093" y="892175"/>
                  <a:pt x="389096" y="892175"/>
                </a:cubicBezTo>
                <a:cubicBezTo>
                  <a:pt x="389096" y="892175"/>
                  <a:pt x="389096" y="892175"/>
                  <a:pt x="388382" y="892175"/>
                </a:cubicBezTo>
                <a:cubicBezTo>
                  <a:pt x="387668" y="892175"/>
                  <a:pt x="386954" y="892175"/>
                  <a:pt x="386240" y="892175"/>
                </a:cubicBezTo>
                <a:cubicBezTo>
                  <a:pt x="381956" y="891463"/>
                  <a:pt x="376959" y="891463"/>
                  <a:pt x="373389" y="890750"/>
                </a:cubicBezTo>
                <a:cubicBezTo>
                  <a:pt x="372675" y="890750"/>
                  <a:pt x="372675" y="890750"/>
                  <a:pt x="372675" y="890750"/>
                </a:cubicBezTo>
                <a:cubicBezTo>
                  <a:pt x="372675" y="890750"/>
                  <a:pt x="372675" y="890750"/>
                  <a:pt x="371247" y="890750"/>
                </a:cubicBezTo>
                <a:cubicBezTo>
                  <a:pt x="366964" y="890037"/>
                  <a:pt x="363394" y="890037"/>
                  <a:pt x="359110" y="889325"/>
                </a:cubicBezTo>
                <a:cubicBezTo>
                  <a:pt x="359110" y="889325"/>
                  <a:pt x="359110" y="889325"/>
                  <a:pt x="357682" y="889325"/>
                </a:cubicBezTo>
                <a:cubicBezTo>
                  <a:pt x="357682" y="889325"/>
                  <a:pt x="357682" y="889325"/>
                  <a:pt x="356968" y="889325"/>
                </a:cubicBezTo>
                <a:cubicBezTo>
                  <a:pt x="352685" y="888612"/>
                  <a:pt x="348401" y="887900"/>
                  <a:pt x="344118" y="886474"/>
                </a:cubicBezTo>
                <a:cubicBezTo>
                  <a:pt x="344118" y="886474"/>
                  <a:pt x="344118" y="886474"/>
                  <a:pt x="341976" y="886474"/>
                </a:cubicBezTo>
                <a:cubicBezTo>
                  <a:pt x="337692" y="885049"/>
                  <a:pt x="333409" y="884337"/>
                  <a:pt x="329839" y="883624"/>
                </a:cubicBezTo>
                <a:cubicBezTo>
                  <a:pt x="329839" y="883624"/>
                  <a:pt x="329125" y="883624"/>
                  <a:pt x="328411" y="882911"/>
                </a:cubicBezTo>
                <a:cubicBezTo>
                  <a:pt x="324841" y="882199"/>
                  <a:pt x="321272" y="880774"/>
                  <a:pt x="316274" y="880061"/>
                </a:cubicBezTo>
                <a:cubicBezTo>
                  <a:pt x="316274" y="880061"/>
                  <a:pt x="316274" y="880061"/>
                  <a:pt x="314132" y="878636"/>
                </a:cubicBezTo>
                <a:cubicBezTo>
                  <a:pt x="309849" y="877923"/>
                  <a:pt x="305565" y="876498"/>
                  <a:pt x="301995" y="875073"/>
                </a:cubicBezTo>
                <a:cubicBezTo>
                  <a:pt x="301995" y="875073"/>
                  <a:pt x="301995" y="875073"/>
                  <a:pt x="299854" y="874360"/>
                </a:cubicBezTo>
                <a:cubicBezTo>
                  <a:pt x="296284" y="872935"/>
                  <a:pt x="293428" y="871510"/>
                  <a:pt x="289858" y="870085"/>
                </a:cubicBezTo>
                <a:cubicBezTo>
                  <a:pt x="289858" y="870085"/>
                  <a:pt x="289858" y="870085"/>
                  <a:pt x="287717" y="869372"/>
                </a:cubicBezTo>
                <a:cubicBezTo>
                  <a:pt x="287717" y="869372"/>
                  <a:pt x="287717" y="869372"/>
                  <a:pt x="287003" y="869372"/>
                </a:cubicBezTo>
                <a:cubicBezTo>
                  <a:pt x="283433" y="867234"/>
                  <a:pt x="279863" y="865809"/>
                  <a:pt x="276294" y="864384"/>
                </a:cubicBezTo>
                <a:cubicBezTo>
                  <a:pt x="275580" y="863671"/>
                  <a:pt x="273438" y="862959"/>
                  <a:pt x="273438" y="862959"/>
                </a:cubicBezTo>
                <a:cubicBezTo>
                  <a:pt x="269868" y="860821"/>
                  <a:pt x="266299" y="859396"/>
                  <a:pt x="263443" y="857970"/>
                </a:cubicBezTo>
                <a:cubicBezTo>
                  <a:pt x="262729" y="857258"/>
                  <a:pt x="262729" y="857258"/>
                  <a:pt x="262015" y="856545"/>
                </a:cubicBezTo>
                <a:cubicBezTo>
                  <a:pt x="259159" y="855120"/>
                  <a:pt x="255589" y="852982"/>
                  <a:pt x="251306" y="850844"/>
                </a:cubicBezTo>
                <a:cubicBezTo>
                  <a:pt x="250592" y="850132"/>
                  <a:pt x="249878" y="849419"/>
                  <a:pt x="248450" y="849419"/>
                </a:cubicBezTo>
                <a:cubicBezTo>
                  <a:pt x="244880" y="846569"/>
                  <a:pt x="242025" y="845144"/>
                  <a:pt x="238455" y="843006"/>
                </a:cubicBezTo>
                <a:cubicBezTo>
                  <a:pt x="238455" y="842293"/>
                  <a:pt x="237027" y="841581"/>
                  <a:pt x="236313" y="840868"/>
                </a:cubicBezTo>
                <a:cubicBezTo>
                  <a:pt x="233457" y="839443"/>
                  <a:pt x="231316" y="837305"/>
                  <a:pt x="228460" y="835167"/>
                </a:cubicBezTo>
                <a:cubicBezTo>
                  <a:pt x="228460" y="835167"/>
                  <a:pt x="228460" y="835167"/>
                  <a:pt x="227746" y="835167"/>
                </a:cubicBezTo>
                <a:cubicBezTo>
                  <a:pt x="227032" y="834455"/>
                  <a:pt x="226318" y="833742"/>
                  <a:pt x="225604" y="833742"/>
                </a:cubicBezTo>
                <a:cubicBezTo>
                  <a:pt x="222748" y="830892"/>
                  <a:pt x="219893" y="828754"/>
                  <a:pt x="217037" y="826616"/>
                </a:cubicBezTo>
                <a:cubicBezTo>
                  <a:pt x="216323" y="825903"/>
                  <a:pt x="214181" y="823766"/>
                  <a:pt x="214181" y="823766"/>
                </a:cubicBezTo>
                <a:cubicBezTo>
                  <a:pt x="211325" y="821628"/>
                  <a:pt x="208470" y="819490"/>
                  <a:pt x="206328" y="817352"/>
                </a:cubicBezTo>
                <a:cubicBezTo>
                  <a:pt x="206328" y="817352"/>
                  <a:pt x="204900" y="815927"/>
                  <a:pt x="204186" y="815927"/>
                </a:cubicBezTo>
                <a:cubicBezTo>
                  <a:pt x="202044" y="813789"/>
                  <a:pt x="199189" y="810939"/>
                  <a:pt x="196333" y="808088"/>
                </a:cubicBezTo>
                <a:cubicBezTo>
                  <a:pt x="195619" y="807376"/>
                  <a:pt x="194191" y="805951"/>
                  <a:pt x="193477" y="805238"/>
                </a:cubicBezTo>
                <a:cubicBezTo>
                  <a:pt x="190621" y="802388"/>
                  <a:pt x="187766" y="799537"/>
                  <a:pt x="185624" y="797399"/>
                </a:cubicBezTo>
                <a:cubicBezTo>
                  <a:pt x="184910" y="796687"/>
                  <a:pt x="183482" y="795262"/>
                  <a:pt x="183482" y="794549"/>
                </a:cubicBezTo>
                <a:cubicBezTo>
                  <a:pt x="181340" y="792411"/>
                  <a:pt x="179198" y="790273"/>
                  <a:pt x="177056" y="787423"/>
                </a:cubicBezTo>
                <a:cubicBezTo>
                  <a:pt x="176343" y="785998"/>
                  <a:pt x="175629" y="785285"/>
                  <a:pt x="174915" y="784573"/>
                </a:cubicBezTo>
                <a:cubicBezTo>
                  <a:pt x="173487" y="783147"/>
                  <a:pt x="172773" y="781722"/>
                  <a:pt x="171345" y="780297"/>
                </a:cubicBezTo>
                <a:cubicBezTo>
                  <a:pt x="170631" y="779584"/>
                  <a:pt x="169917" y="779584"/>
                  <a:pt x="169203" y="779584"/>
                </a:cubicBezTo>
                <a:cubicBezTo>
                  <a:pt x="167775" y="778872"/>
                  <a:pt x="166347" y="778159"/>
                  <a:pt x="164920" y="777447"/>
                </a:cubicBezTo>
                <a:cubicBezTo>
                  <a:pt x="162064" y="776734"/>
                  <a:pt x="159922" y="775309"/>
                  <a:pt x="157780" y="774596"/>
                </a:cubicBezTo>
                <a:cubicBezTo>
                  <a:pt x="157780" y="774596"/>
                  <a:pt x="157780" y="774596"/>
                  <a:pt x="157066" y="773884"/>
                </a:cubicBezTo>
                <a:cubicBezTo>
                  <a:pt x="155638" y="773884"/>
                  <a:pt x="154924" y="773171"/>
                  <a:pt x="153497" y="772458"/>
                </a:cubicBezTo>
                <a:cubicBezTo>
                  <a:pt x="151355" y="771033"/>
                  <a:pt x="148499" y="769608"/>
                  <a:pt x="145643" y="768183"/>
                </a:cubicBezTo>
                <a:cubicBezTo>
                  <a:pt x="144215" y="767470"/>
                  <a:pt x="143501" y="767470"/>
                  <a:pt x="142788" y="766758"/>
                </a:cubicBezTo>
                <a:cubicBezTo>
                  <a:pt x="139218" y="765332"/>
                  <a:pt x="135648" y="763195"/>
                  <a:pt x="132078" y="761057"/>
                </a:cubicBezTo>
                <a:cubicBezTo>
                  <a:pt x="131365" y="760344"/>
                  <a:pt x="130651" y="760344"/>
                  <a:pt x="129937" y="759632"/>
                </a:cubicBezTo>
                <a:cubicBezTo>
                  <a:pt x="129937" y="759632"/>
                  <a:pt x="129937" y="759632"/>
                  <a:pt x="129223" y="758919"/>
                </a:cubicBezTo>
                <a:cubicBezTo>
                  <a:pt x="126367" y="757494"/>
                  <a:pt x="124225" y="756069"/>
                  <a:pt x="122083" y="754643"/>
                </a:cubicBezTo>
                <a:cubicBezTo>
                  <a:pt x="121369" y="753931"/>
                  <a:pt x="119942" y="753218"/>
                  <a:pt x="119228" y="752506"/>
                </a:cubicBezTo>
                <a:cubicBezTo>
                  <a:pt x="119228" y="752506"/>
                  <a:pt x="119228" y="752506"/>
                  <a:pt x="118514" y="751793"/>
                </a:cubicBezTo>
                <a:cubicBezTo>
                  <a:pt x="116372" y="750368"/>
                  <a:pt x="114230" y="748943"/>
                  <a:pt x="112088" y="747517"/>
                </a:cubicBezTo>
                <a:cubicBezTo>
                  <a:pt x="112088" y="747517"/>
                  <a:pt x="112088" y="747517"/>
                  <a:pt x="111374" y="747517"/>
                </a:cubicBezTo>
                <a:cubicBezTo>
                  <a:pt x="110660" y="746805"/>
                  <a:pt x="109233" y="745380"/>
                  <a:pt x="108519" y="744667"/>
                </a:cubicBezTo>
                <a:cubicBezTo>
                  <a:pt x="106377" y="743242"/>
                  <a:pt x="104235" y="741817"/>
                  <a:pt x="102093" y="739679"/>
                </a:cubicBezTo>
                <a:cubicBezTo>
                  <a:pt x="102093" y="739679"/>
                  <a:pt x="102093" y="739679"/>
                  <a:pt x="101379" y="739679"/>
                </a:cubicBezTo>
                <a:cubicBezTo>
                  <a:pt x="100665" y="738966"/>
                  <a:pt x="99951" y="738254"/>
                  <a:pt x="99237" y="737541"/>
                </a:cubicBezTo>
                <a:cubicBezTo>
                  <a:pt x="95668" y="734691"/>
                  <a:pt x="92812" y="732553"/>
                  <a:pt x="89956" y="729702"/>
                </a:cubicBezTo>
                <a:cubicBezTo>
                  <a:pt x="89242" y="728990"/>
                  <a:pt x="88528" y="728990"/>
                  <a:pt x="87814" y="728277"/>
                </a:cubicBezTo>
                <a:cubicBezTo>
                  <a:pt x="85673" y="725427"/>
                  <a:pt x="83531" y="724002"/>
                  <a:pt x="81389" y="721864"/>
                </a:cubicBezTo>
                <a:cubicBezTo>
                  <a:pt x="80675" y="721151"/>
                  <a:pt x="79961" y="719726"/>
                  <a:pt x="78533" y="719013"/>
                </a:cubicBezTo>
                <a:cubicBezTo>
                  <a:pt x="78533" y="719013"/>
                  <a:pt x="78533" y="719013"/>
                  <a:pt x="78533" y="718301"/>
                </a:cubicBezTo>
                <a:cubicBezTo>
                  <a:pt x="76391" y="716876"/>
                  <a:pt x="74250" y="714738"/>
                  <a:pt x="72822" y="713313"/>
                </a:cubicBezTo>
                <a:cubicBezTo>
                  <a:pt x="72108" y="711887"/>
                  <a:pt x="70680" y="710462"/>
                  <a:pt x="69966" y="709750"/>
                </a:cubicBezTo>
                <a:cubicBezTo>
                  <a:pt x="67824" y="707612"/>
                  <a:pt x="66396" y="706187"/>
                  <a:pt x="64255" y="703336"/>
                </a:cubicBezTo>
                <a:cubicBezTo>
                  <a:pt x="63541" y="701911"/>
                  <a:pt x="62827" y="701198"/>
                  <a:pt x="62113" y="700486"/>
                </a:cubicBezTo>
                <a:cubicBezTo>
                  <a:pt x="59257" y="697635"/>
                  <a:pt x="57115" y="694785"/>
                  <a:pt x="54973" y="691935"/>
                </a:cubicBezTo>
                <a:cubicBezTo>
                  <a:pt x="54973" y="691935"/>
                  <a:pt x="54973" y="691935"/>
                  <a:pt x="54259" y="691222"/>
                </a:cubicBezTo>
                <a:cubicBezTo>
                  <a:pt x="52118" y="688372"/>
                  <a:pt x="49976" y="684809"/>
                  <a:pt x="47834" y="681246"/>
                </a:cubicBezTo>
                <a:cubicBezTo>
                  <a:pt x="47120" y="680533"/>
                  <a:pt x="46406" y="679820"/>
                  <a:pt x="45692" y="679108"/>
                </a:cubicBezTo>
                <a:cubicBezTo>
                  <a:pt x="45692" y="679108"/>
                  <a:pt x="45692" y="679108"/>
                  <a:pt x="44978" y="678395"/>
                </a:cubicBezTo>
                <a:cubicBezTo>
                  <a:pt x="43550" y="675545"/>
                  <a:pt x="42122" y="673407"/>
                  <a:pt x="40695" y="671269"/>
                </a:cubicBezTo>
                <a:cubicBezTo>
                  <a:pt x="39981" y="669844"/>
                  <a:pt x="39267" y="668419"/>
                  <a:pt x="38553" y="667706"/>
                </a:cubicBezTo>
                <a:cubicBezTo>
                  <a:pt x="37125" y="665568"/>
                  <a:pt x="35697" y="662718"/>
                  <a:pt x="34269" y="660580"/>
                </a:cubicBezTo>
                <a:cubicBezTo>
                  <a:pt x="34269" y="660580"/>
                  <a:pt x="34269" y="660580"/>
                  <a:pt x="34269" y="659868"/>
                </a:cubicBezTo>
                <a:cubicBezTo>
                  <a:pt x="33555" y="659155"/>
                  <a:pt x="32841" y="657730"/>
                  <a:pt x="32127" y="657017"/>
                </a:cubicBezTo>
                <a:cubicBezTo>
                  <a:pt x="30700" y="654167"/>
                  <a:pt x="29986" y="651316"/>
                  <a:pt x="27844" y="648466"/>
                </a:cubicBezTo>
                <a:cubicBezTo>
                  <a:pt x="27844" y="647753"/>
                  <a:pt x="27130" y="647041"/>
                  <a:pt x="27130" y="646328"/>
                </a:cubicBezTo>
                <a:cubicBezTo>
                  <a:pt x="24988" y="642765"/>
                  <a:pt x="23560" y="639202"/>
                  <a:pt x="22132" y="634927"/>
                </a:cubicBezTo>
                <a:cubicBezTo>
                  <a:pt x="21418" y="634214"/>
                  <a:pt x="21418" y="633501"/>
                  <a:pt x="20704" y="632789"/>
                </a:cubicBezTo>
                <a:cubicBezTo>
                  <a:pt x="20704" y="632789"/>
                  <a:pt x="20704" y="632789"/>
                  <a:pt x="20704" y="632076"/>
                </a:cubicBezTo>
                <a:cubicBezTo>
                  <a:pt x="19277" y="629226"/>
                  <a:pt x="18563" y="626375"/>
                  <a:pt x="17135" y="623525"/>
                </a:cubicBezTo>
                <a:cubicBezTo>
                  <a:pt x="17135" y="622812"/>
                  <a:pt x="16421" y="621387"/>
                  <a:pt x="15707" y="620675"/>
                </a:cubicBezTo>
                <a:cubicBezTo>
                  <a:pt x="15707" y="620675"/>
                  <a:pt x="15707" y="620675"/>
                  <a:pt x="15707" y="619962"/>
                </a:cubicBezTo>
                <a:cubicBezTo>
                  <a:pt x="14993" y="617112"/>
                  <a:pt x="14279" y="614261"/>
                  <a:pt x="12851" y="612123"/>
                </a:cubicBezTo>
                <a:cubicBezTo>
                  <a:pt x="12851" y="612123"/>
                  <a:pt x="12137" y="609273"/>
                  <a:pt x="12137" y="607848"/>
                </a:cubicBezTo>
                <a:cubicBezTo>
                  <a:pt x="10709" y="604997"/>
                  <a:pt x="9995" y="602147"/>
                  <a:pt x="9281" y="599297"/>
                </a:cubicBezTo>
                <a:cubicBezTo>
                  <a:pt x="9281" y="599297"/>
                  <a:pt x="9281" y="599297"/>
                  <a:pt x="9281" y="598584"/>
                </a:cubicBezTo>
                <a:cubicBezTo>
                  <a:pt x="9281" y="597871"/>
                  <a:pt x="8567" y="596446"/>
                  <a:pt x="8567" y="595734"/>
                </a:cubicBezTo>
                <a:cubicBezTo>
                  <a:pt x="7140" y="591458"/>
                  <a:pt x="6426" y="587895"/>
                  <a:pt x="5712" y="583619"/>
                </a:cubicBezTo>
                <a:cubicBezTo>
                  <a:pt x="5712" y="582907"/>
                  <a:pt x="4998" y="581482"/>
                  <a:pt x="4998" y="580769"/>
                </a:cubicBezTo>
                <a:cubicBezTo>
                  <a:pt x="4284" y="577919"/>
                  <a:pt x="3570" y="574356"/>
                  <a:pt x="3570" y="571505"/>
                </a:cubicBezTo>
                <a:cubicBezTo>
                  <a:pt x="3570" y="570793"/>
                  <a:pt x="2856" y="569367"/>
                  <a:pt x="2856" y="568655"/>
                </a:cubicBezTo>
                <a:cubicBezTo>
                  <a:pt x="2856" y="568655"/>
                  <a:pt x="2856" y="568655"/>
                  <a:pt x="2856" y="567942"/>
                </a:cubicBezTo>
                <a:cubicBezTo>
                  <a:pt x="2856" y="567942"/>
                  <a:pt x="2856" y="567942"/>
                  <a:pt x="2856" y="567230"/>
                </a:cubicBezTo>
                <a:cubicBezTo>
                  <a:pt x="2142" y="564379"/>
                  <a:pt x="2142" y="561529"/>
                  <a:pt x="1428" y="558678"/>
                </a:cubicBezTo>
                <a:cubicBezTo>
                  <a:pt x="1428" y="557253"/>
                  <a:pt x="1428" y="555828"/>
                  <a:pt x="1428" y="554403"/>
                </a:cubicBezTo>
                <a:cubicBezTo>
                  <a:pt x="714" y="551552"/>
                  <a:pt x="714" y="548702"/>
                  <a:pt x="714" y="545852"/>
                </a:cubicBezTo>
                <a:cubicBezTo>
                  <a:pt x="714" y="545852"/>
                  <a:pt x="714" y="545852"/>
                  <a:pt x="714" y="545139"/>
                </a:cubicBezTo>
                <a:cubicBezTo>
                  <a:pt x="714" y="543714"/>
                  <a:pt x="0" y="543001"/>
                  <a:pt x="0" y="541576"/>
                </a:cubicBezTo>
                <a:cubicBezTo>
                  <a:pt x="0" y="536588"/>
                  <a:pt x="0" y="533025"/>
                  <a:pt x="0" y="528749"/>
                </a:cubicBezTo>
                <a:cubicBezTo>
                  <a:pt x="0" y="463190"/>
                  <a:pt x="24274" y="399769"/>
                  <a:pt x="67110" y="350599"/>
                </a:cubicBezTo>
                <a:cubicBezTo>
                  <a:pt x="97810" y="315682"/>
                  <a:pt x="136362" y="290028"/>
                  <a:pt x="179912" y="274351"/>
                </a:cubicBezTo>
                <a:cubicBezTo>
                  <a:pt x="192763" y="121142"/>
                  <a:pt x="322700" y="0"/>
                  <a:pt x="480479" y="0"/>
                </a:cubicBez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>
              <a:solidFill>
                <a:schemeClr val="tx2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078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MASTERWIZARD_MARGINS" val="0"/>
  <p:tag name="EE4P_STYLE_ID" val="zpqkS3LE"/>
  <p:tag name="EE4P_STYLE_NAME" val="HCAP Blue Grid 16:9"/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&quot; title=&quot;Περιεχόμενα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4&quot; hideSeparatingSlides=&quot;0&quot; createSections=&quot;1&quot; singleSlideId=&quot;7999502f-6c57-4b23-8582-fc3d158e16f7&quot; backupSlideId=&quot;0314ebe1-51d7-4286-aeae-bc4f9dc06d80&quot; backupSectionId=&quot;{4128FBBF-E90B-4A4A-B20F-4505F29EC2A6}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135.1298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7ca1c405-bfbb-4a2b-befc-120d27c06e6d&quot; parentId=&quot;&quot; level=&quot;1&quot; generateAgendaSlide=&quot;1&quot; showAgendaItem=&quot;1&quot; isBreak=&quot;0&quot; topic=&quot;Ανασκόπηση απολιγνιτοποίησης&quot; agendaSlideId=&quot;b8b5bba3-de11-4288-8f49-9a2c5b867443&quot; sectionId=&quot;{24FDBD62-120E-400B-95B7-460EF93A52A6}&quot; /&gt;&lt;item duration=&quot;30&quot; id=&quot;74f31f13-44e4-4927-8e13-39f2051886cf&quot; parentId=&quot;&quot; level=&quot;1&quot; generateAgendaSlide=&quot;1&quot; showAgendaItem=&quot;1&quot; isBreak=&quot;0&quot; topic=&quot;Όραμα επόμενης ημέρας&quot; agendaSlideId=&quot;67649501-a5fb-408e-8b16-7eb0d2e934a3&quot; sectionId=&quot;{7CB4F7A9-F444-4409-A469-60DB9A0F02C5}&quot; /&gt;&lt;item duration=&quot;30&quot; id=&quot;be272935-5ae2-40ba-a15d-79d6574f6de9&quot; parentId=&quot;&quot; level=&quot;1&quot; generateAgendaSlide=&quot;1&quot; showAgendaItem=&quot;1&quot; isBreak=&quot;0&quot; topic=&quot;Δημόσια διαβούλευση Master Plan&quot; agendaSlideId=&quot;9a1fca6f-07b5-455a-b922-72e5642dc8b6&quot; sectionId=&quot;{ED3B57B4-D706-45E2-951F-4079F8770DB0}&quot; /&gt;&lt;item duration=&quot;30&quot; id=&quot;bd26a4d3-6722-45f1-a2e8-9e7bd472b4a6&quot; parentId=&quot;&quot; level=&quot;1&quot; generateAgendaSlide=&quot;1&quot; showAgendaItem=&quot;1&quot; isBreak=&quot;0&quot; topic=&quot;Εδαφικά σχέδια&quot; agendaSlideId=&quot;9832d00f-b253-42d9-875f-d5ff2702db66&quot; sectionId=&quot;{321295D1-A346-48B3-B574-51794772DF57}&quot; /&gt;&lt;item duration=&quot;30&quot; id=&quot;a4284f34-5399-48ea-a38a-ec434fb2ba7c&quot; parentId=&quot;&quot; level=&quot;1&quot; generateAgendaSlide=&quot;1&quot; showAgendaItem=&quot;1&quot; isBreak=&quot;0&quot; topic=&quot;Εταιρική σχέση&quot; agendaSlideId=&quot;300a5f52-ce60-432a-af99-c8acc76f5dd7&quot; sectionId=&quot;{F911C922-0A0D-448A-85D1-799891ED4AC9}&quot; /&gt;&lt;item duration=&quot;30&quot; id=&quot;8871230f-47cc-41de-81af-b684f2a1afd3&quot; parentId=&quot;&quot; level=&quot;1&quot; generateAgendaSlide=&quot;1&quot; showAgendaItem=&quot;1&quot; isBreak=&quot;0&quot; topic=&quot;Πλάνο διακυβέρνησης&quot; agendaSlideId=&quot;a7a5a1ed-395d-4d0e-a277-ddfb55ba7520&quot; sectionId=&quot;{69494A74-2B14-46F0-B19C-9CABA3AA70BB}&quot; /&gt;&lt;item duration=&quot;30&quot; id=&quot;a263b613-829e-45ac-a4ba-62271b5c15ea&quot; parentId=&quot;&quot; level=&quot;1&quot; generateAgendaSlide=&quot;1&quot; showAgendaItem=&quot;1&quot; isBreak=&quot;0&quot; topic=&quot;Επόμενα βήματα&quot; agendaSlideId=&quot;79b83c97-0b68-4b29-a23b-1dfdc9a63212&quot; sectionId=&quot;{87B88EA6-551D-4C1A-AC41-247D79DABAA1}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uhf.SKMizsv5BSwysS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NyGbZejcdRzgrD0rUPK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Z9bNIFVTvM37B1SNKr.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UabtOK_Uw8v1WrLBfT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aJgqhv1gzSLno_JDfe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olkMsxHk3kCNmFHp_T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EWFCOn0oMR6SZJBvNX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azbvupRnzzDQUB2bE.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1KWSBns.RbDWfgVGy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5iv0o3Ocm_.U3s5YQx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fWBN0rLXfwfvGxeppu_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BhYOTqDudVbojwevn20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d.nsYqqx8_Snf6Kbt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yee2iXv_tPjY3Pyu6NK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TRThFi9k32asgJxrm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e87GYgN9OFPo.UPKNo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.esOFydhq5miS.RNJQ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3gHdOSfXUGmv2zTQtH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fiGzlQ9W0a6IYlBL8S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M6bLU1OGVMIAlj.uSs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7OoV4cR9ZuqSoUJIk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9oRLzB0.w9jHjDpPby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Mt1JFELVw8lKSny69v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iaBD0DCyzZdaJdHZRi_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7qj.C_knCF6AEKBroo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Wmc_GF2jwAVQAoVfry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UmZIuoLBTpgxRr6naPn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uBTslhm8aOux2Cl0sf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ACH.aZQHuBemihf8XQ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kMKoRBuJfhjOmxR4O6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0KZtGAk7a5C3msn6D7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solnBiigeYEdVdIu5j8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UU_pxWvYfrLIsiVxhr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allZd3tErtjDf9ZO6H8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.VduMu0GwsTmRRfstD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HCGnEP1DYeCpQM2.Yf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1gMvuAkqBjAc_he1FV9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etnS5MLm3TemoXPgO60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B5ye9zd6dG7I4OJcW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mdyO1sqzX3DgF7JBu2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o8G1reNjP3jGkO7FH5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wEBzFhXciJvxNV1uoH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pXUa7vNLrxNJY.o6A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YN6UFoeefp..FM0XDvR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3s1nUY5php_x3cohwp4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_lkIXpmPD3v1Mno1hc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AdSOzfOfWwyhTIKDcm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Jfv8XxAz0IzOi0bXv3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cTAkTsUNoN9qxoRQo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SHaMEly36cDRFyLaf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vMsQ9QceLUj2QoKGJq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.Utl1W5Adkbvt0Q3TA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oKcCi3nPsmmL.33EAz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9tq74BxLeLQX0176GcM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s1qgZ2fSo1xCy0JvjRf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hGxyjcIQSO8f8zY0gl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oVWyjB2feJRsYyQteKW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56fq4.LyqrYbdMCs98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BsFdtmXpqq0wfosA8xv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WmqNLpmoV24r9Osr42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DW2yQ2srVUyaNJKzySd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S9mOgPEAvcjHekwoKHd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A.ZqGRto0YYezRJZGGz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6je0bo6TvrXmRi6LaUY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dH7dBYM2o4XGmJTY8M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QsP61dEhemlCom2vkNA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asamIkqkE1uKh2Skdc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sDthwfhTCCZNH4Sx.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hv3rw2.OQqI.GAEfRbF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gKQnyvaZxzUwP5C7z5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2YhNLO8EQJj0nknGMO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O0LRwejodJ50Oh_bwo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5VYYaHIXuhMrHn3OzO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Pf4wFUrmTSqgGsxIXk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HGixZ_IUMEIyevRVVS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bpKQQD9T1sbQFjVJT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d.JILDxb5BOothsLc_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LGhuDvv2jnyda9gSnXYA"/>
</p:tagLst>
</file>

<file path=ppt/theme/theme1.xml><?xml version="1.0" encoding="utf-8"?>
<a:theme xmlns:a="http://schemas.openxmlformats.org/drawingml/2006/main" name="HCAP Blue Grid 16:9 - 13071">
  <a:themeElements>
    <a:clrScheme name="Custom 11">
      <a:dk1>
        <a:srgbClr val="646464"/>
      </a:dk1>
      <a:lt1>
        <a:sysClr val="window" lastClr="FFFFFF"/>
      </a:lt1>
      <a:dk2>
        <a:srgbClr val="0070C0"/>
      </a:dk2>
      <a:lt2>
        <a:srgbClr val="F2F2F2"/>
      </a:lt2>
      <a:accent1>
        <a:srgbClr val="003860"/>
      </a:accent1>
      <a:accent2>
        <a:srgbClr val="00518E"/>
      </a:accent2>
      <a:accent3>
        <a:srgbClr val="D4DF33"/>
      </a:accent3>
      <a:accent4>
        <a:srgbClr val="40B0FF"/>
      </a:accent4>
      <a:accent5>
        <a:srgbClr val="787878"/>
      </a:accent5>
      <a:accent6>
        <a:srgbClr val="703529"/>
      </a:accent6>
      <a:hlink>
        <a:srgbClr val="002060"/>
      </a:hlink>
      <a:folHlink>
        <a:srgbClr val="00206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2</TotalTime>
  <Words>308</Words>
  <Application>Microsoft Office PowerPoint</Application>
  <PresentationFormat>Ευρεία οθόνη</PresentationFormat>
  <Paragraphs>118</Paragraphs>
  <Slides>3</Slides>
  <Notes>0</Notes>
  <HiddenSlides>0</HiddenSlides>
  <MMClips>0</MMClips>
  <ScaleCrop>false</ScaleCrop>
  <HeadingPairs>
    <vt:vector size="10" baseType="variant">
      <vt:variant>
        <vt:lpstr>Γραμματοσειρές που χρησιμοποιούνται</vt:lpstr>
      </vt:variant>
      <vt:variant>
        <vt:i4>4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3</vt:i4>
      </vt:variant>
      <vt:variant>
        <vt:lpstr>Προσαρμοσμένες προβολές</vt:lpstr>
      </vt:variant>
      <vt:variant>
        <vt:i4>1</vt:i4>
      </vt:variant>
    </vt:vector>
  </HeadingPairs>
  <TitlesOfParts>
    <vt:vector size="10" baseType="lpstr">
      <vt:lpstr>Arial</vt:lpstr>
      <vt:lpstr>Calibri</vt:lpstr>
      <vt:lpstr>Times New Roman</vt:lpstr>
      <vt:lpstr>Trebuchet MS</vt:lpstr>
      <vt:lpstr>HCAP Blue Grid 16:9 - 13071</vt:lpstr>
      <vt:lpstr>think-cell Slide</vt:lpstr>
      <vt:lpstr>Η απολιγνιτοποίηση του ενεργειακού μίγματος της χώρας ξεκίνησε το 2010-2011</vt:lpstr>
      <vt:lpstr>Η απολιγνιτοποίηση επηρεάζει άμεσα τις τοπικές οικονομίες που βασίζονται στην ηλεκτροπαραγωγή</vt:lpstr>
      <vt:lpstr>Οι τοπικοί παραγωγικοί κλάδοι, λόγο της μονοκαλλιέργειας του λιγνίτη έχουν ατονήσει</vt:lpstr>
      <vt:lpstr>Format Guide Workshop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Σχέδιο δίκαιης αναπτυξιακής μετάβασης των λιγνιτικών περιοχών</dc:title>
  <dc:creator>Kostis</dc:creator>
  <cp:lastModifiedBy>Τσιτσόπουλος Ιωάννης</cp:lastModifiedBy>
  <cp:revision>81</cp:revision>
  <cp:lastPrinted>1999-12-31T22:00:00Z</cp:lastPrinted>
  <dcterms:created xsi:type="dcterms:W3CDTF">2020-11-03T09:18:13Z</dcterms:created>
  <dcterms:modified xsi:type="dcterms:W3CDTF">2021-11-10T14:1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